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58" r:id="rId2"/>
    <p:sldId id="387" r:id="rId3"/>
    <p:sldId id="388" r:id="rId4"/>
    <p:sldId id="389" r:id="rId5"/>
    <p:sldId id="354" r:id="rId6"/>
  </p:sldIdLst>
  <p:sldSz cx="12192000" cy="6858000"/>
  <p:notesSz cx="6797675" cy="9926638"/>
  <p:embeddedFontLst>
    <p:embeddedFont>
      <p:font typeface="Futura Medium" panose="00000400000000000000" pitchFamily="2" charset="0"/>
      <p:regular r:id="rId9"/>
      <p:bold r:id="rId10"/>
      <p:italic r:id="rId11"/>
      <p:boldItalic r:id="rId12"/>
    </p:embeddedFont>
    <p:embeddedFont>
      <p:font typeface="ShellBold" panose="00000800000000000000" pitchFamily="50" charset="0"/>
      <p:regular r:id="rId13"/>
      <p:bold r:id="rId14"/>
    </p:embeddedFont>
    <p:embeddedFont>
      <p:font typeface="ShellMedium" panose="00000600000000000000" pitchFamily="50" charset="0"/>
      <p:regular r:id="rId15"/>
    </p:embeddedFont>
  </p:embeddedFont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28" autoAdjust="0"/>
    <p:restoredTop sz="95994" autoAdjust="0"/>
  </p:normalViewPr>
  <p:slideViewPr>
    <p:cSldViewPr showGuides="1">
      <p:cViewPr varScale="1">
        <p:scale>
          <a:sx n="64" d="100"/>
          <a:sy n="64" d="100"/>
        </p:scale>
        <p:origin x="103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62" d="100"/>
          <a:sy n="62" d="100"/>
        </p:scale>
        <p:origin x="3240" y="67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ShellMedium" panose="00000600000000000000" pitchFamily="50" charset="0"/>
              </a:rPr>
              <a:pPr/>
              <a:t>30/07/2021</a:t>
            </a:fld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ShellMedium" panose="00000600000000000000" pitchFamily="50" charset="0"/>
              </a:rPr>
              <a:pPr/>
              <a:t>‹#›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>
                <a:latin typeface="ShellMedium" panose="00000600000000000000" pitchFamily="50" charset="0"/>
              </a:rPr>
              <a:pPr/>
              <a:t>30/07/2021</a:t>
            </a:fld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‹#›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1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25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2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3828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3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6394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4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608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5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968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21" name="Rectangle 20" descr="&lt;Shell Yellow Bar&gt;" title="&lt;Shell Yellow Bar&gt;"/>
          <p:cNvSpPr/>
          <p:nvPr userDrawn="1"/>
        </p:nvSpPr>
        <p:spPr bwMode="gray">
          <a:xfrm>
            <a:off x="2370681" y="761998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22" name="Picture 21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645968"/>
            <a:ext cx="2032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371199" y="954000"/>
            <a:ext cx="9147700" cy="918000"/>
          </a:xfrm>
          <a:noFill/>
          <a:ln>
            <a:noFill/>
          </a:ln>
        </p:spPr>
        <p:txBody>
          <a:bodyPr lIns="0" tIns="0" rIns="0" anchor="ctr" anchorCtr="0"/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 algn="l" defTabSz="1219170" rtl="0" eaLnBrk="1" latinLnBrk="0" hangingPunct="1">
              <a:lnSpc>
                <a:spcPct val="110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71199" y="3317925"/>
            <a:ext cx="9147700" cy="748800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71200" y="4585016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1200" y="4838620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102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10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0E1DF2BF-FD6E-4DEC-B6F3-9A032BB1A9A5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672001" y="6150324"/>
            <a:ext cx="10824855" cy="147993"/>
          </a:xfrm>
        </p:spPr>
        <p:txBody>
          <a:bodyPr wrap="square">
            <a:noAutofit/>
          </a:bodyPr>
          <a:lstStyle>
            <a:lvl1pPr>
              <a:defRPr sz="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2932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672001" y="4267485"/>
            <a:ext cx="5209337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672001" y="3932522"/>
            <a:ext cx="5209337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 flipV="1">
            <a:off x="672001" y="4209292"/>
            <a:ext cx="5209337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672001" y="4524140"/>
            <a:ext cx="5209337" cy="1606497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672001" y="6032737"/>
            <a:ext cx="5209337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672001" y="1905336"/>
            <a:ext cx="5209337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672001" y="1570373"/>
            <a:ext cx="5209337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 flipV="1">
            <a:off x="672001" y="1847143"/>
            <a:ext cx="5209337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672001" y="2161991"/>
            <a:ext cx="5209337" cy="1606497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>
            <a:off x="672001" y="3670588"/>
            <a:ext cx="5209337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87740" y="4267485"/>
            <a:ext cx="5231161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87740" y="3932522"/>
            <a:ext cx="5231161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 flipV="1">
            <a:off x="6287740" y="4209292"/>
            <a:ext cx="5231161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87740" y="4524140"/>
            <a:ext cx="5231161" cy="1606497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>
            <a:off x="6287740" y="6032737"/>
            <a:ext cx="5231161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87740" y="1905336"/>
            <a:ext cx="5231161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87740" y="1570373"/>
            <a:ext cx="5231161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 flipV="1">
            <a:off x="6287740" y="1847143"/>
            <a:ext cx="5231161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87740" y="2161991"/>
            <a:ext cx="5231161" cy="1606497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287740" y="3670588"/>
            <a:ext cx="5231161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3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7" name="TextBox 26" descr="CONFIDENTIAL_TAG_0xFFEE">
            <a:extLst>
              <a:ext uri="{FF2B5EF4-FFF2-40B4-BE49-F238E27FC236}">
                <a16:creationId xmlns:a16="http://schemas.microsoft.com/office/drawing/2014/main" id="{5DEF2566-73A0-4BCF-AE72-1484F250A5BA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2" y="4313785"/>
            <a:ext cx="12191999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015981" y="2638196"/>
            <a:ext cx="4887403" cy="136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MY" sz="1400" dirty="0"/>
            </a:lvl1pPr>
          </a:lstStyle>
          <a:p>
            <a:pPr lvl="0" defTabSz="121917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1015981" y="1699351"/>
            <a:ext cx="10502919" cy="82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800" b="0" cap="none" dirty="0" smtClean="0">
                <a:latin typeface="+mj-lt"/>
              </a:defRPr>
            </a:lvl1pPr>
          </a:lstStyle>
          <a:p>
            <a:pPr lvl="0" defTabSz="357708">
              <a:lnSpc>
                <a:spcPct val="100000"/>
              </a:lnSpc>
            </a:pPr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88617" y="2638698"/>
            <a:ext cx="5216427" cy="22076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defRPr lang="en-GB" sz="17000" kern="10000" spc="-1000" dirty="0">
                <a:ln w="3175">
                  <a:noFill/>
                </a:ln>
                <a:solidFill>
                  <a:schemeClr val="accent1"/>
                </a:solidFill>
                <a:latin typeface="ShellBold" panose="00000800000000000000" pitchFamily="50" charset="0"/>
                <a:ea typeface="ShellMedium" panose="00000600000000000000" pitchFamily="50" charset="0"/>
                <a:cs typeface="ShellBold" panose="00000800000000000000" pitchFamily="50" charset="0"/>
              </a:defRPr>
            </a:lvl1pPr>
          </a:lstStyle>
          <a:p>
            <a:pPr lvl="0" algn="r" defTabSz="1219170">
              <a:lnSpc>
                <a:spcPct val="100000"/>
              </a:lnSpc>
              <a:buClr>
                <a:srgbClr val="DD1D21"/>
              </a:buClr>
              <a:tabLst>
                <a:tab pos="1081088" algn="l"/>
              </a:tabLst>
            </a:pPr>
            <a:r>
              <a:rPr lang="en-GB" dirty="0"/>
              <a:t>0.0</a:t>
            </a:r>
          </a:p>
        </p:txBody>
      </p:sp>
      <p:sp>
        <p:nvSpPr>
          <p:cNvPr id="12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20" name="Rectangle 19" descr="&lt;Shell Yellow Bar&gt;" title="&lt;Shell Yellow Bar&gt;"/>
          <p:cNvSpPr/>
          <p:nvPr userDrawn="1"/>
        </p:nvSpPr>
        <p:spPr bwMode="gray">
          <a:xfrm>
            <a:off x="1015981" y="1524000"/>
            <a:ext cx="1693312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2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E6F31B58-8ADC-4214-8097-AEE7A3FD71C5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 userDrawn="1"/>
        </p:nvSpPr>
        <p:spPr bwMode="gray">
          <a:xfrm>
            <a:off x="673099" y="3554414"/>
            <a:ext cx="9152468" cy="2797175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1" name="Rectangle 30" descr="&lt;Shell Yellow Bar&gt;" title="&lt;Shell Yellow Bar&gt;"/>
          <p:cNvSpPr/>
          <p:nvPr userDrawn="1"/>
        </p:nvSpPr>
        <p:spPr bwMode="gray">
          <a:xfrm>
            <a:off x="1001211" y="3829099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35" name="Picture Placeholder 2"/>
          <p:cNvSpPr>
            <a:spLocks noGrp="1"/>
          </p:cNvSpPr>
          <p:nvPr userDrawn="1">
            <p:ph type="pic" sz="quarter" idx="13"/>
          </p:nvPr>
        </p:nvSpPr>
        <p:spPr bwMode="auto">
          <a:xfrm>
            <a:off x="1" y="0"/>
            <a:ext cx="12192000" cy="4830116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  <a:gd name="connsiteX0" fmla="*/ 241373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41373 w 12194723"/>
              <a:gd name="connsiteY8" fmla="*/ 0 h 4854829"/>
              <a:gd name="connsiteX0" fmla="*/ 2382 w 11955732"/>
              <a:gd name="connsiteY0" fmla="*/ 0 h 4854829"/>
              <a:gd name="connsiteX1" fmla="*/ 11955391 w 11955732"/>
              <a:gd name="connsiteY1" fmla="*/ 0 h 4854829"/>
              <a:gd name="connsiteX2" fmla="*/ 11955391 w 11955732"/>
              <a:gd name="connsiteY2" fmla="*/ 4854636 h 4854829"/>
              <a:gd name="connsiteX3" fmla="*/ 7384257 w 11955732"/>
              <a:gd name="connsiteY3" fmla="*/ 4843680 h 4854829"/>
              <a:gd name="connsiteX4" fmla="*/ 7381442 w 11955732"/>
              <a:gd name="connsiteY4" fmla="*/ 3543300 h 4854829"/>
              <a:gd name="connsiteX5" fmla="*/ 523124 w 11955732"/>
              <a:gd name="connsiteY5" fmla="*/ 3547023 h 4854829"/>
              <a:gd name="connsiteX6" fmla="*/ 523704 w 11955732"/>
              <a:gd name="connsiteY6" fmla="*/ 4850671 h 4854829"/>
              <a:gd name="connsiteX7" fmla="*/ 0 w 11955732"/>
              <a:gd name="connsiteY7" fmla="*/ 4847509 h 4854829"/>
              <a:gd name="connsiteX8" fmla="*/ 2382 w 11955732"/>
              <a:gd name="connsiteY8" fmla="*/ 0 h 4854829"/>
              <a:gd name="connsiteX0" fmla="*/ 2382 w 11960184"/>
              <a:gd name="connsiteY0" fmla="*/ 0 h 4854829"/>
              <a:gd name="connsiteX1" fmla="*/ 11955391 w 11960184"/>
              <a:gd name="connsiteY1" fmla="*/ 0 h 4854829"/>
              <a:gd name="connsiteX2" fmla="*/ 11955391 w 11960184"/>
              <a:gd name="connsiteY2" fmla="*/ 4854636 h 4854829"/>
              <a:gd name="connsiteX3" fmla="*/ 7384257 w 11960184"/>
              <a:gd name="connsiteY3" fmla="*/ 4843680 h 4854829"/>
              <a:gd name="connsiteX4" fmla="*/ 7381442 w 11960184"/>
              <a:gd name="connsiteY4" fmla="*/ 3543300 h 4854829"/>
              <a:gd name="connsiteX5" fmla="*/ 523124 w 11960184"/>
              <a:gd name="connsiteY5" fmla="*/ 3547023 h 4854829"/>
              <a:gd name="connsiteX6" fmla="*/ 523704 w 11960184"/>
              <a:gd name="connsiteY6" fmla="*/ 4850671 h 4854829"/>
              <a:gd name="connsiteX7" fmla="*/ 0 w 11960184"/>
              <a:gd name="connsiteY7" fmla="*/ 4847509 h 4854829"/>
              <a:gd name="connsiteX8" fmla="*/ 2382 w 11960184"/>
              <a:gd name="connsiteY8" fmla="*/ 0 h 4854829"/>
              <a:gd name="connsiteX0" fmla="*/ 2382 w 11975151"/>
              <a:gd name="connsiteY0" fmla="*/ 0 h 5210613"/>
              <a:gd name="connsiteX1" fmla="*/ 9149846 w 11975151"/>
              <a:gd name="connsiteY1" fmla="*/ 0 h 5210613"/>
              <a:gd name="connsiteX2" fmla="*/ 11955391 w 11975151"/>
              <a:gd name="connsiteY2" fmla="*/ 4854636 h 5210613"/>
              <a:gd name="connsiteX3" fmla="*/ 7384257 w 11975151"/>
              <a:gd name="connsiteY3" fmla="*/ 4843680 h 5210613"/>
              <a:gd name="connsiteX4" fmla="*/ 7381442 w 11975151"/>
              <a:gd name="connsiteY4" fmla="*/ 3543300 h 5210613"/>
              <a:gd name="connsiteX5" fmla="*/ 523124 w 11975151"/>
              <a:gd name="connsiteY5" fmla="*/ 3547023 h 5210613"/>
              <a:gd name="connsiteX6" fmla="*/ 523704 w 11975151"/>
              <a:gd name="connsiteY6" fmla="*/ 4850671 h 5210613"/>
              <a:gd name="connsiteX7" fmla="*/ 0 w 11975151"/>
              <a:gd name="connsiteY7" fmla="*/ 4847509 h 5210613"/>
              <a:gd name="connsiteX8" fmla="*/ 2382 w 11975151"/>
              <a:gd name="connsiteY8" fmla="*/ 0 h 5210613"/>
              <a:gd name="connsiteX0" fmla="*/ 2382 w 11955393"/>
              <a:gd name="connsiteY0" fmla="*/ 0 h 4854636"/>
              <a:gd name="connsiteX1" fmla="*/ 9149846 w 11955393"/>
              <a:gd name="connsiteY1" fmla="*/ 0 h 4854636"/>
              <a:gd name="connsiteX2" fmla="*/ 11955391 w 11955393"/>
              <a:gd name="connsiteY2" fmla="*/ 4854636 h 4854636"/>
              <a:gd name="connsiteX3" fmla="*/ 7384257 w 11955393"/>
              <a:gd name="connsiteY3" fmla="*/ 4843680 h 4854636"/>
              <a:gd name="connsiteX4" fmla="*/ 7381442 w 11955393"/>
              <a:gd name="connsiteY4" fmla="*/ 3543300 h 4854636"/>
              <a:gd name="connsiteX5" fmla="*/ 523124 w 11955393"/>
              <a:gd name="connsiteY5" fmla="*/ 3547023 h 4854636"/>
              <a:gd name="connsiteX6" fmla="*/ 523704 w 11955393"/>
              <a:gd name="connsiteY6" fmla="*/ 4850671 h 4854636"/>
              <a:gd name="connsiteX7" fmla="*/ 0 w 11955393"/>
              <a:gd name="connsiteY7" fmla="*/ 4847509 h 4854636"/>
              <a:gd name="connsiteX8" fmla="*/ 2382 w 11955393"/>
              <a:gd name="connsiteY8" fmla="*/ 0 h 4854636"/>
              <a:gd name="connsiteX0" fmla="*/ 2382 w 9685771"/>
              <a:gd name="connsiteY0" fmla="*/ 360370 h 5307510"/>
              <a:gd name="connsiteX1" fmla="*/ 9149846 w 9685771"/>
              <a:gd name="connsiteY1" fmla="*/ 360370 h 5307510"/>
              <a:gd name="connsiteX2" fmla="*/ 8661472 w 9685771"/>
              <a:gd name="connsiteY2" fmla="*/ 5225371 h 5307510"/>
              <a:gd name="connsiteX3" fmla="*/ 7384257 w 9685771"/>
              <a:gd name="connsiteY3" fmla="*/ 5204050 h 5307510"/>
              <a:gd name="connsiteX4" fmla="*/ 7381442 w 9685771"/>
              <a:gd name="connsiteY4" fmla="*/ 3903670 h 5307510"/>
              <a:gd name="connsiteX5" fmla="*/ 523124 w 9685771"/>
              <a:gd name="connsiteY5" fmla="*/ 3907393 h 5307510"/>
              <a:gd name="connsiteX6" fmla="*/ 523704 w 9685771"/>
              <a:gd name="connsiteY6" fmla="*/ 5211041 h 5307510"/>
              <a:gd name="connsiteX7" fmla="*/ 0 w 9685771"/>
              <a:gd name="connsiteY7" fmla="*/ 5207879 h 5307510"/>
              <a:gd name="connsiteX8" fmla="*/ 2382 w 9685771"/>
              <a:gd name="connsiteY8" fmla="*/ 360370 h 5307510"/>
              <a:gd name="connsiteX0" fmla="*/ 2382 w 9151108"/>
              <a:gd name="connsiteY0" fmla="*/ 0 h 4947140"/>
              <a:gd name="connsiteX1" fmla="*/ 9149846 w 9151108"/>
              <a:gd name="connsiteY1" fmla="*/ 0 h 4947140"/>
              <a:gd name="connsiteX2" fmla="*/ 8661472 w 9151108"/>
              <a:gd name="connsiteY2" fmla="*/ 4865001 h 4947140"/>
              <a:gd name="connsiteX3" fmla="*/ 7384257 w 9151108"/>
              <a:gd name="connsiteY3" fmla="*/ 4843680 h 4947140"/>
              <a:gd name="connsiteX4" fmla="*/ 7381442 w 9151108"/>
              <a:gd name="connsiteY4" fmla="*/ 3543300 h 4947140"/>
              <a:gd name="connsiteX5" fmla="*/ 523124 w 9151108"/>
              <a:gd name="connsiteY5" fmla="*/ 3547023 h 4947140"/>
              <a:gd name="connsiteX6" fmla="*/ 523704 w 9151108"/>
              <a:gd name="connsiteY6" fmla="*/ 4850671 h 4947140"/>
              <a:gd name="connsiteX7" fmla="*/ 0 w 9151108"/>
              <a:gd name="connsiteY7" fmla="*/ 4847509 h 4947140"/>
              <a:gd name="connsiteX8" fmla="*/ 2382 w 9151108"/>
              <a:gd name="connsiteY8" fmla="*/ 0 h 4947140"/>
              <a:gd name="connsiteX0" fmla="*/ 2382 w 9828173"/>
              <a:gd name="connsiteY0" fmla="*/ 356531 h 5286738"/>
              <a:gd name="connsiteX1" fmla="*/ 9149846 w 9828173"/>
              <a:gd name="connsiteY1" fmla="*/ 356531 h 5286738"/>
              <a:gd name="connsiteX2" fmla="*/ 9149845 w 9828173"/>
              <a:gd name="connsiteY2" fmla="*/ 5169707 h 5286738"/>
              <a:gd name="connsiteX3" fmla="*/ 7384257 w 9828173"/>
              <a:gd name="connsiteY3" fmla="*/ 5200211 h 5286738"/>
              <a:gd name="connsiteX4" fmla="*/ 7381442 w 9828173"/>
              <a:gd name="connsiteY4" fmla="*/ 3899831 h 5286738"/>
              <a:gd name="connsiteX5" fmla="*/ 523124 w 9828173"/>
              <a:gd name="connsiteY5" fmla="*/ 3903554 h 5286738"/>
              <a:gd name="connsiteX6" fmla="*/ 523704 w 9828173"/>
              <a:gd name="connsiteY6" fmla="*/ 5207202 h 5286738"/>
              <a:gd name="connsiteX7" fmla="*/ 0 w 9828173"/>
              <a:gd name="connsiteY7" fmla="*/ 5204040 h 5286738"/>
              <a:gd name="connsiteX8" fmla="*/ 2382 w 9828173"/>
              <a:gd name="connsiteY8" fmla="*/ 356531 h 5286738"/>
              <a:gd name="connsiteX0" fmla="*/ 2382 w 9154046"/>
              <a:gd name="connsiteY0" fmla="*/ 0 h 4930207"/>
              <a:gd name="connsiteX1" fmla="*/ 9149846 w 9154046"/>
              <a:gd name="connsiteY1" fmla="*/ 0 h 4930207"/>
              <a:gd name="connsiteX2" fmla="*/ 9149845 w 9154046"/>
              <a:gd name="connsiteY2" fmla="*/ 4813176 h 4930207"/>
              <a:gd name="connsiteX3" fmla="*/ 7384257 w 9154046"/>
              <a:gd name="connsiteY3" fmla="*/ 4843680 h 4930207"/>
              <a:gd name="connsiteX4" fmla="*/ 7381442 w 9154046"/>
              <a:gd name="connsiteY4" fmla="*/ 3543300 h 4930207"/>
              <a:gd name="connsiteX5" fmla="*/ 523124 w 9154046"/>
              <a:gd name="connsiteY5" fmla="*/ 3547023 h 4930207"/>
              <a:gd name="connsiteX6" fmla="*/ 523704 w 9154046"/>
              <a:gd name="connsiteY6" fmla="*/ 4850671 h 4930207"/>
              <a:gd name="connsiteX7" fmla="*/ 0 w 9154046"/>
              <a:gd name="connsiteY7" fmla="*/ 4847509 h 4930207"/>
              <a:gd name="connsiteX8" fmla="*/ 2382 w 9154046"/>
              <a:gd name="connsiteY8" fmla="*/ 0 h 4930207"/>
              <a:gd name="connsiteX0" fmla="*/ 2382 w 9154046"/>
              <a:gd name="connsiteY0" fmla="*/ 0 h 4850673"/>
              <a:gd name="connsiteX1" fmla="*/ 9149846 w 9154046"/>
              <a:gd name="connsiteY1" fmla="*/ 0 h 4850673"/>
              <a:gd name="connsiteX2" fmla="*/ 9149845 w 9154046"/>
              <a:gd name="connsiteY2" fmla="*/ 4813176 h 4850673"/>
              <a:gd name="connsiteX3" fmla="*/ 7384257 w 9154046"/>
              <a:gd name="connsiteY3" fmla="*/ 4843680 h 4850673"/>
              <a:gd name="connsiteX4" fmla="*/ 7381442 w 9154046"/>
              <a:gd name="connsiteY4" fmla="*/ 3543300 h 4850673"/>
              <a:gd name="connsiteX5" fmla="*/ 523124 w 9154046"/>
              <a:gd name="connsiteY5" fmla="*/ 3547023 h 4850673"/>
              <a:gd name="connsiteX6" fmla="*/ 523704 w 9154046"/>
              <a:gd name="connsiteY6" fmla="*/ 4850671 h 4850673"/>
              <a:gd name="connsiteX7" fmla="*/ 0 w 9154046"/>
              <a:gd name="connsiteY7" fmla="*/ 4847509 h 4850673"/>
              <a:gd name="connsiteX8" fmla="*/ 2382 w 9154046"/>
              <a:gd name="connsiteY8" fmla="*/ 0 h 4850673"/>
              <a:gd name="connsiteX0" fmla="*/ 2382 w 9282313"/>
              <a:gd name="connsiteY0" fmla="*/ 0 h 5171093"/>
              <a:gd name="connsiteX1" fmla="*/ 9149846 w 9282313"/>
              <a:gd name="connsiteY1" fmla="*/ 0 h 5171093"/>
              <a:gd name="connsiteX2" fmla="*/ 9149845 w 9282313"/>
              <a:gd name="connsiteY2" fmla="*/ 4813176 h 5171093"/>
              <a:gd name="connsiteX3" fmla="*/ 7384257 w 9282313"/>
              <a:gd name="connsiteY3" fmla="*/ 4821343 h 5171093"/>
              <a:gd name="connsiteX4" fmla="*/ 7381442 w 9282313"/>
              <a:gd name="connsiteY4" fmla="*/ 3543300 h 5171093"/>
              <a:gd name="connsiteX5" fmla="*/ 523124 w 9282313"/>
              <a:gd name="connsiteY5" fmla="*/ 3547023 h 5171093"/>
              <a:gd name="connsiteX6" fmla="*/ 523704 w 9282313"/>
              <a:gd name="connsiteY6" fmla="*/ 4850671 h 5171093"/>
              <a:gd name="connsiteX7" fmla="*/ 0 w 9282313"/>
              <a:gd name="connsiteY7" fmla="*/ 4847509 h 5171093"/>
              <a:gd name="connsiteX8" fmla="*/ 2382 w 9282313"/>
              <a:gd name="connsiteY8" fmla="*/ 0 h 5171093"/>
              <a:gd name="connsiteX0" fmla="*/ 2382 w 9282313"/>
              <a:gd name="connsiteY0" fmla="*/ 0 h 5168611"/>
              <a:gd name="connsiteX1" fmla="*/ 9149846 w 9282313"/>
              <a:gd name="connsiteY1" fmla="*/ 0 h 5168611"/>
              <a:gd name="connsiteX2" fmla="*/ 9149845 w 9282313"/>
              <a:gd name="connsiteY2" fmla="*/ 4813176 h 5168611"/>
              <a:gd name="connsiteX3" fmla="*/ 7384257 w 9282313"/>
              <a:gd name="connsiteY3" fmla="*/ 4813896 h 5168611"/>
              <a:gd name="connsiteX4" fmla="*/ 7381442 w 9282313"/>
              <a:gd name="connsiteY4" fmla="*/ 3543300 h 5168611"/>
              <a:gd name="connsiteX5" fmla="*/ 523124 w 9282313"/>
              <a:gd name="connsiteY5" fmla="*/ 3547023 h 5168611"/>
              <a:gd name="connsiteX6" fmla="*/ 523704 w 9282313"/>
              <a:gd name="connsiteY6" fmla="*/ 4850671 h 5168611"/>
              <a:gd name="connsiteX7" fmla="*/ 0 w 9282313"/>
              <a:gd name="connsiteY7" fmla="*/ 4847509 h 5168611"/>
              <a:gd name="connsiteX8" fmla="*/ 2382 w 9282313"/>
              <a:gd name="connsiteY8" fmla="*/ 0 h 5168611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47542"/>
              <a:gd name="connsiteX1" fmla="*/ 9149846 w 9153055"/>
              <a:gd name="connsiteY1" fmla="*/ 0 h 4847542"/>
              <a:gd name="connsiteX2" fmla="*/ 9149845 w 9153055"/>
              <a:gd name="connsiteY2" fmla="*/ 4813176 h 4847542"/>
              <a:gd name="connsiteX3" fmla="*/ 7384257 w 9153055"/>
              <a:gd name="connsiteY3" fmla="*/ 4813896 h 4847542"/>
              <a:gd name="connsiteX4" fmla="*/ 7381442 w 9153055"/>
              <a:gd name="connsiteY4" fmla="*/ 3543300 h 4847542"/>
              <a:gd name="connsiteX5" fmla="*/ 523124 w 9153055"/>
              <a:gd name="connsiteY5" fmla="*/ 3547023 h 4847542"/>
              <a:gd name="connsiteX6" fmla="*/ 517484 w 9153055"/>
              <a:gd name="connsiteY6" fmla="*/ 4825851 h 4847542"/>
              <a:gd name="connsiteX7" fmla="*/ 0 w 9153055"/>
              <a:gd name="connsiteY7" fmla="*/ 4847509 h 4847542"/>
              <a:gd name="connsiteX8" fmla="*/ 2382 w 9153055"/>
              <a:gd name="connsiteY8" fmla="*/ 0 h 4847542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0 w 9150673"/>
              <a:gd name="connsiteY0" fmla="*/ 0 h 4825853"/>
              <a:gd name="connsiteX1" fmla="*/ 9147464 w 9150673"/>
              <a:gd name="connsiteY1" fmla="*/ 0 h 4825853"/>
              <a:gd name="connsiteX2" fmla="*/ 9147463 w 9150673"/>
              <a:gd name="connsiteY2" fmla="*/ 4813176 h 4825853"/>
              <a:gd name="connsiteX3" fmla="*/ 7381875 w 9150673"/>
              <a:gd name="connsiteY3" fmla="*/ 4813896 h 4825853"/>
              <a:gd name="connsiteX4" fmla="*/ 7379060 w 9150673"/>
              <a:gd name="connsiteY4" fmla="*/ 3543300 h 4825853"/>
              <a:gd name="connsiteX5" fmla="*/ 520742 w 9150673"/>
              <a:gd name="connsiteY5" fmla="*/ 3547023 h 4825853"/>
              <a:gd name="connsiteX6" fmla="*/ 515102 w 9150673"/>
              <a:gd name="connsiteY6" fmla="*/ 4825851 h 4825853"/>
              <a:gd name="connsiteX7" fmla="*/ 2770 w 9150673"/>
              <a:gd name="connsiteY7" fmla="*/ 4817115 h 4825853"/>
              <a:gd name="connsiteX8" fmla="*/ 0 w 9150673"/>
              <a:gd name="connsiteY8" fmla="*/ 0 h 4825853"/>
              <a:gd name="connsiteX0" fmla="*/ 0 w 9150673"/>
              <a:gd name="connsiteY0" fmla="*/ 0 h 4818145"/>
              <a:gd name="connsiteX1" fmla="*/ 9147464 w 9150673"/>
              <a:gd name="connsiteY1" fmla="*/ 0 h 4818145"/>
              <a:gd name="connsiteX2" fmla="*/ 9147463 w 9150673"/>
              <a:gd name="connsiteY2" fmla="*/ 4813176 h 4818145"/>
              <a:gd name="connsiteX3" fmla="*/ 7381875 w 9150673"/>
              <a:gd name="connsiteY3" fmla="*/ 4813896 h 4818145"/>
              <a:gd name="connsiteX4" fmla="*/ 7379060 w 9150673"/>
              <a:gd name="connsiteY4" fmla="*/ 3543300 h 4818145"/>
              <a:gd name="connsiteX5" fmla="*/ 520742 w 9150673"/>
              <a:gd name="connsiteY5" fmla="*/ 3547023 h 4818145"/>
              <a:gd name="connsiteX6" fmla="*/ 515102 w 9150673"/>
              <a:gd name="connsiteY6" fmla="*/ 4818143 h 4818145"/>
              <a:gd name="connsiteX7" fmla="*/ 2770 w 9150673"/>
              <a:gd name="connsiteY7" fmla="*/ 4817115 h 4818145"/>
              <a:gd name="connsiteX8" fmla="*/ 0 w 9150673"/>
              <a:gd name="connsiteY8" fmla="*/ 0 h 4818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50673" h="4818145">
                <a:moveTo>
                  <a:pt x="0" y="0"/>
                </a:moveTo>
                <a:lnTo>
                  <a:pt x="9147464" y="0"/>
                </a:lnTo>
                <a:cubicBezTo>
                  <a:pt x="9154968" y="4079"/>
                  <a:pt x="9146880" y="4807581"/>
                  <a:pt x="9147463" y="4813176"/>
                </a:cubicBezTo>
                <a:cubicBezTo>
                  <a:pt x="9148046" y="4818771"/>
                  <a:pt x="7385663" y="4807873"/>
                  <a:pt x="7381875" y="4813896"/>
                </a:cubicBezTo>
                <a:cubicBezTo>
                  <a:pt x="7378087" y="4819919"/>
                  <a:pt x="7380515" y="3538511"/>
                  <a:pt x="7379060" y="3543300"/>
                </a:cubicBezTo>
                <a:cubicBezTo>
                  <a:pt x="7377605" y="3548089"/>
                  <a:pt x="2806848" y="3545782"/>
                  <a:pt x="520742" y="3547023"/>
                </a:cubicBezTo>
                <a:cubicBezTo>
                  <a:pt x="519025" y="3777370"/>
                  <a:pt x="515915" y="4819927"/>
                  <a:pt x="515102" y="4818143"/>
                </a:cubicBezTo>
                <a:cubicBezTo>
                  <a:pt x="514289" y="4816359"/>
                  <a:pt x="257002" y="4818169"/>
                  <a:pt x="2770" y="4817115"/>
                </a:cubicBezTo>
                <a:cubicBezTo>
                  <a:pt x="1847" y="3211410"/>
                  <a:pt x="923" y="1605705"/>
                  <a:pt x="0" y="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007533" y="4027623"/>
            <a:ext cx="8483600" cy="8640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pc="0" dirty="0">
                <a:cs typeface="Arial" pitchFamily="34" charset="0"/>
              </a:defRPr>
            </a:lvl1pPr>
          </a:lstStyle>
          <a:p>
            <a:pPr lvl="0" defTabSz="1219170">
              <a:lnSpc>
                <a:spcPct val="100000"/>
              </a:lnSpc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007533" y="5096738"/>
            <a:ext cx="8483600" cy="7704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1400" dirty="0"/>
            </a:lvl1pPr>
          </a:lstStyle>
          <a:p>
            <a:pPr lvl="0" defTabSz="357708">
              <a:lnSpc>
                <a:spcPct val="90000"/>
              </a:lnSpc>
              <a:spcBef>
                <a:spcPct val="0"/>
              </a:spcBef>
            </a:pPr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98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9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E9DE4ECF-A876-472A-9577-84BF415CF4F8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531327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0" pos="635" userDrawn="1">
          <p15:clr>
            <a:srgbClr val="FBAE40"/>
          </p15:clr>
        </p15:guide>
        <p15:guide id="4" pos="597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0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76D1C7A0-EB4F-4757-9472-3CA74787BA05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1" y="0"/>
            <a:ext cx="12194383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" name="Text Placeholder 2" descr="&lt;IGNORE&gt;"/>
          <p:cNvSpPr>
            <a:spLocks noGrp="1"/>
          </p:cNvSpPr>
          <p:nvPr>
            <p:ph type="body" sz="quarter" idx="13"/>
          </p:nvPr>
        </p:nvSpPr>
        <p:spPr>
          <a:xfrm>
            <a:off x="673100" y="1492272"/>
            <a:ext cx="10845800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Slide Number Placeholder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79EE917E-EA22-4A39-9A31-60964D9FC743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8818406"/>
      </p:ext>
    </p:extLst>
  </p:cSld>
  <p:clrMapOvr>
    <a:masterClrMapping/>
  </p:clrMapOvr>
  <p:transition/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2" y="4313784"/>
            <a:ext cx="12191999" cy="25442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5903384" y="2831546"/>
            <a:ext cx="5690760" cy="1633939"/>
            <a:chOff x="6450013" y="2557463"/>
            <a:chExt cx="5197475" cy="1917700"/>
          </a:xfrm>
        </p:grpSpPr>
        <p:sp>
          <p:nvSpPr>
            <p:cNvPr id="26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27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  <p:sp>
        <p:nvSpPr>
          <p:cNvPr id="3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015981" y="1711397"/>
            <a:ext cx="10493664" cy="8135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800" b="0" cap="none" baseline="0" dirty="0">
                <a:latin typeface="+mj-lt"/>
              </a:defRPr>
            </a:lvl1pPr>
          </a:lstStyle>
          <a:p>
            <a:pPr lvl="0" defTabSz="357708">
              <a:lnSpc>
                <a:spcPct val="100000"/>
              </a:lnSpc>
            </a:pPr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24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1015981" y="2638196"/>
            <a:ext cx="4477944" cy="136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MY" sz="1400" dirty="0"/>
            </a:lvl1pPr>
          </a:lstStyle>
          <a:p>
            <a:pPr lvl="0" defTabSz="1219170">
              <a:lnSpc>
                <a:spcPct val="100000"/>
              </a:lnSpc>
            </a:pPr>
            <a:r>
              <a:rPr lang="en-GB" dirty="0"/>
              <a:t>Click to subtitle</a:t>
            </a:r>
          </a:p>
        </p:txBody>
      </p:sp>
      <p:sp>
        <p:nvSpPr>
          <p:cNvPr id="30" name="Rectangle 29" descr="&lt;Shell Yellow Bar&gt;" title="&lt;Shell Yellow Bar&gt;"/>
          <p:cNvSpPr/>
          <p:nvPr userDrawn="1"/>
        </p:nvSpPr>
        <p:spPr bwMode="gray">
          <a:xfrm>
            <a:off x="1015981" y="1524000"/>
            <a:ext cx="1693312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A9D8DD9F-64C0-400F-94B5-2826B37766BD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992035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11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4EA44CBB-B8C4-4BEA-8AE1-FA8AC697B000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700" y="1383563"/>
            <a:ext cx="5462400" cy="4096800"/>
          </a:xfrm>
          <a:prstGeom prst="rect">
            <a:avLst/>
          </a:prstGeom>
        </p:spPr>
      </p:pic>
    </p:spTree>
  </p:cSld>
  <p:clrMapOvr>
    <a:masterClrMapping/>
  </p:clrMapOvr>
  <p:transition/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2370681" y="761998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645968"/>
            <a:ext cx="2032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371200" y="955449"/>
            <a:ext cx="9148800" cy="9180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pc="0" dirty="0">
                <a:cs typeface="Arial" pitchFamily="34" charset="0"/>
              </a:defRPr>
            </a:lvl1pPr>
          </a:lstStyle>
          <a:p>
            <a:pPr lvl="0" defTabSz="1219170">
              <a:lnSpc>
                <a:spcPct val="110000"/>
              </a:lnSpc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71200" y="3044536"/>
            <a:ext cx="4389819" cy="1023464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71201" y="4586400"/>
            <a:ext cx="4407932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1201" y="4838400"/>
            <a:ext cx="4407932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7093527" y="2795155"/>
            <a:ext cx="4425373" cy="2904946"/>
          </a:xfr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04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10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0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5E770725-FE96-41B2-8B3D-966055DBE8D1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 userDrawn="1"/>
        </p:nvSpPr>
        <p:spPr bwMode="gray">
          <a:xfrm>
            <a:off x="673099" y="3554414"/>
            <a:ext cx="9152468" cy="2797175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1" name="Rectangle 30" descr="&lt;Shell Yellow Bar&gt;" title="&lt;Shell Yellow Bar&gt;"/>
          <p:cNvSpPr/>
          <p:nvPr userDrawn="1"/>
        </p:nvSpPr>
        <p:spPr bwMode="gray">
          <a:xfrm>
            <a:off x="2443068" y="3829099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34" name="Picture 33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4554" y="3688500"/>
            <a:ext cx="1953649" cy="1465237"/>
          </a:xfrm>
          <a:prstGeom prst="rect">
            <a:avLst/>
          </a:prstGeom>
        </p:spPr>
      </p:pic>
      <p:sp>
        <p:nvSpPr>
          <p:cNvPr id="35" name="Picture Placeholder 2"/>
          <p:cNvSpPr>
            <a:spLocks noGrp="1"/>
          </p:cNvSpPr>
          <p:nvPr userDrawn="1">
            <p:ph type="pic" sz="quarter" idx="13"/>
          </p:nvPr>
        </p:nvSpPr>
        <p:spPr bwMode="auto">
          <a:xfrm>
            <a:off x="1" y="1"/>
            <a:ext cx="12192000" cy="4808601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  <a:gd name="connsiteX0" fmla="*/ 241373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41373 w 12194723"/>
              <a:gd name="connsiteY8" fmla="*/ 0 h 4854829"/>
              <a:gd name="connsiteX0" fmla="*/ 2382 w 11955732"/>
              <a:gd name="connsiteY0" fmla="*/ 0 h 4854829"/>
              <a:gd name="connsiteX1" fmla="*/ 11955391 w 11955732"/>
              <a:gd name="connsiteY1" fmla="*/ 0 h 4854829"/>
              <a:gd name="connsiteX2" fmla="*/ 11955391 w 11955732"/>
              <a:gd name="connsiteY2" fmla="*/ 4854636 h 4854829"/>
              <a:gd name="connsiteX3" fmla="*/ 7384257 w 11955732"/>
              <a:gd name="connsiteY3" fmla="*/ 4843680 h 4854829"/>
              <a:gd name="connsiteX4" fmla="*/ 7381442 w 11955732"/>
              <a:gd name="connsiteY4" fmla="*/ 3543300 h 4854829"/>
              <a:gd name="connsiteX5" fmla="*/ 523124 w 11955732"/>
              <a:gd name="connsiteY5" fmla="*/ 3547023 h 4854829"/>
              <a:gd name="connsiteX6" fmla="*/ 523704 w 11955732"/>
              <a:gd name="connsiteY6" fmla="*/ 4850671 h 4854829"/>
              <a:gd name="connsiteX7" fmla="*/ 0 w 11955732"/>
              <a:gd name="connsiteY7" fmla="*/ 4847509 h 4854829"/>
              <a:gd name="connsiteX8" fmla="*/ 2382 w 11955732"/>
              <a:gd name="connsiteY8" fmla="*/ 0 h 4854829"/>
              <a:gd name="connsiteX0" fmla="*/ 2382 w 11960184"/>
              <a:gd name="connsiteY0" fmla="*/ 0 h 4854829"/>
              <a:gd name="connsiteX1" fmla="*/ 11955391 w 11960184"/>
              <a:gd name="connsiteY1" fmla="*/ 0 h 4854829"/>
              <a:gd name="connsiteX2" fmla="*/ 11955391 w 11960184"/>
              <a:gd name="connsiteY2" fmla="*/ 4854636 h 4854829"/>
              <a:gd name="connsiteX3" fmla="*/ 7384257 w 11960184"/>
              <a:gd name="connsiteY3" fmla="*/ 4843680 h 4854829"/>
              <a:gd name="connsiteX4" fmla="*/ 7381442 w 11960184"/>
              <a:gd name="connsiteY4" fmla="*/ 3543300 h 4854829"/>
              <a:gd name="connsiteX5" fmla="*/ 523124 w 11960184"/>
              <a:gd name="connsiteY5" fmla="*/ 3547023 h 4854829"/>
              <a:gd name="connsiteX6" fmla="*/ 523704 w 11960184"/>
              <a:gd name="connsiteY6" fmla="*/ 4850671 h 4854829"/>
              <a:gd name="connsiteX7" fmla="*/ 0 w 11960184"/>
              <a:gd name="connsiteY7" fmla="*/ 4847509 h 4854829"/>
              <a:gd name="connsiteX8" fmla="*/ 2382 w 11960184"/>
              <a:gd name="connsiteY8" fmla="*/ 0 h 4854829"/>
              <a:gd name="connsiteX0" fmla="*/ 2382 w 11975151"/>
              <a:gd name="connsiteY0" fmla="*/ 0 h 5210613"/>
              <a:gd name="connsiteX1" fmla="*/ 9149846 w 11975151"/>
              <a:gd name="connsiteY1" fmla="*/ 0 h 5210613"/>
              <a:gd name="connsiteX2" fmla="*/ 11955391 w 11975151"/>
              <a:gd name="connsiteY2" fmla="*/ 4854636 h 5210613"/>
              <a:gd name="connsiteX3" fmla="*/ 7384257 w 11975151"/>
              <a:gd name="connsiteY3" fmla="*/ 4843680 h 5210613"/>
              <a:gd name="connsiteX4" fmla="*/ 7381442 w 11975151"/>
              <a:gd name="connsiteY4" fmla="*/ 3543300 h 5210613"/>
              <a:gd name="connsiteX5" fmla="*/ 523124 w 11975151"/>
              <a:gd name="connsiteY5" fmla="*/ 3547023 h 5210613"/>
              <a:gd name="connsiteX6" fmla="*/ 523704 w 11975151"/>
              <a:gd name="connsiteY6" fmla="*/ 4850671 h 5210613"/>
              <a:gd name="connsiteX7" fmla="*/ 0 w 11975151"/>
              <a:gd name="connsiteY7" fmla="*/ 4847509 h 5210613"/>
              <a:gd name="connsiteX8" fmla="*/ 2382 w 11975151"/>
              <a:gd name="connsiteY8" fmla="*/ 0 h 5210613"/>
              <a:gd name="connsiteX0" fmla="*/ 2382 w 11955393"/>
              <a:gd name="connsiteY0" fmla="*/ 0 h 4854636"/>
              <a:gd name="connsiteX1" fmla="*/ 9149846 w 11955393"/>
              <a:gd name="connsiteY1" fmla="*/ 0 h 4854636"/>
              <a:gd name="connsiteX2" fmla="*/ 11955391 w 11955393"/>
              <a:gd name="connsiteY2" fmla="*/ 4854636 h 4854636"/>
              <a:gd name="connsiteX3" fmla="*/ 7384257 w 11955393"/>
              <a:gd name="connsiteY3" fmla="*/ 4843680 h 4854636"/>
              <a:gd name="connsiteX4" fmla="*/ 7381442 w 11955393"/>
              <a:gd name="connsiteY4" fmla="*/ 3543300 h 4854636"/>
              <a:gd name="connsiteX5" fmla="*/ 523124 w 11955393"/>
              <a:gd name="connsiteY5" fmla="*/ 3547023 h 4854636"/>
              <a:gd name="connsiteX6" fmla="*/ 523704 w 11955393"/>
              <a:gd name="connsiteY6" fmla="*/ 4850671 h 4854636"/>
              <a:gd name="connsiteX7" fmla="*/ 0 w 11955393"/>
              <a:gd name="connsiteY7" fmla="*/ 4847509 h 4854636"/>
              <a:gd name="connsiteX8" fmla="*/ 2382 w 11955393"/>
              <a:gd name="connsiteY8" fmla="*/ 0 h 4854636"/>
              <a:gd name="connsiteX0" fmla="*/ 2382 w 9685771"/>
              <a:gd name="connsiteY0" fmla="*/ 360370 h 5307510"/>
              <a:gd name="connsiteX1" fmla="*/ 9149846 w 9685771"/>
              <a:gd name="connsiteY1" fmla="*/ 360370 h 5307510"/>
              <a:gd name="connsiteX2" fmla="*/ 8661472 w 9685771"/>
              <a:gd name="connsiteY2" fmla="*/ 5225371 h 5307510"/>
              <a:gd name="connsiteX3" fmla="*/ 7384257 w 9685771"/>
              <a:gd name="connsiteY3" fmla="*/ 5204050 h 5307510"/>
              <a:gd name="connsiteX4" fmla="*/ 7381442 w 9685771"/>
              <a:gd name="connsiteY4" fmla="*/ 3903670 h 5307510"/>
              <a:gd name="connsiteX5" fmla="*/ 523124 w 9685771"/>
              <a:gd name="connsiteY5" fmla="*/ 3907393 h 5307510"/>
              <a:gd name="connsiteX6" fmla="*/ 523704 w 9685771"/>
              <a:gd name="connsiteY6" fmla="*/ 5211041 h 5307510"/>
              <a:gd name="connsiteX7" fmla="*/ 0 w 9685771"/>
              <a:gd name="connsiteY7" fmla="*/ 5207879 h 5307510"/>
              <a:gd name="connsiteX8" fmla="*/ 2382 w 9685771"/>
              <a:gd name="connsiteY8" fmla="*/ 360370 h 5307510"/>
              <a:gd name="connsiteX0" fmla="*/ 2382 w 9151108"/>
              <a:gd name="connsiteY0" fmla="*/ 0 h 4947140"/>
              <a:gd name="connsiteX1" fmla="*/ 9149846 w 9151108"/>
              <a:gd name="connsiteY1" fmla="*/ 0 h 4947140"/>
              <a:gd name="connsiteX2" fmla="*/ 8661472 w 9151108"/>
              <a:gd name="connsiteY2" fmla="*/ 4865001 h 4947140"/>
              <a:gd name="connsiteX3" fmla="*/ 7384257 w 9151108"/>
              <a:gd name="connsiteY3" fmla="*/ 4843680 h 4947140"/>
              <a:gd name="connsiteX4" fmla="*/ 7381442 w 9151108"/>
              <a:gd name="connsiteY4" fmla="*/ 3543300 h 4947140"/>
              <a:gd name="connsiteX5" fmla="*/ 523124 w 9151108"/>
              <a:gd name="connsiteY5" fmla="*/ 3547023 h 4947140"/>
              <a:gd name="connsiteX6" fmla="*/ 523704 w 9151108"/>
              <a:gd name="connsiteY6" fmla="*/ 4850671 h 4947140"/>
              <a:gd name="connsiteX7" fmla="*/ 0 w 9151108"/>
              <a:gd name="connsiteY7" fmla="*/ 4847509 h 4947140"/>
              <a:gd name="connsiteX8" fmla="*/ 2382 w 9151108"/>
              <a:gd name="connsiteY8" fmla="*/ 0 h 4947140"/>
              <a:gd name="connsiteX0" fmla="*/ 2382 w 9828173"/>
              <a:gd name="connsiteY0" fmla="*/ 356531 h 5286738"/>
              <a:gd name="connsiteX1" fmla="*/ 9149846 w 9828173"/>
              <a:gd name="connsiteY1" fmla="*/ 356531 h 5286738"/>
              <a:gd name="connsiteX2" fmla="*/ 9149845 w 9828173"/>
              <a:gd name="connsiteY2" fmla="*/ 5169707 h 5286738"/>
              <a:gd name="connsiteX3" fmla="*/ 7384257 w 9828173"/>
              <a:gd name="connsiteY3" fmla="*/ 5200211 h 5286738"/>
              <a:gd name="connsiteX4" fmla="*/ 7381442 w 9828173"/>
              <a:gd name="connsiteY4" fmla="*/ 3899831 h 5286738"/>
              <a:gd name="connsiteX5" fmla="*/ 523124 w 9828173"/>
              <a:gd name="connsiteY5" fmla="*/ 3903554 h 5286738"/>
              <a:gd name="connsiteX6" fmla="*/ 523704 w 9828173"/>
              <a:gd name="connsiteY6" fmla="*/ 5207202 h 5286738"/>
              <a:gd name="connsiteX7" fmla="*/ 0 w 9828173"/>
              <a:gd name="connsiteY7" fmla="*/ 5204040 h 5286738"/>
              <a:gd name="connsiteX8" fmla="*/ 2382 w 9828173"/>
              <a:gd name="connsiteY8" fmla="*/ 356531 h 5286738"/>
              <a:gd name="connsiteX0" fmla="*/ 2382 w 9154046"/>
              <a:gd name="connsiteY0" fmla="*/ 0 h 4930207"/>
              <a:gd name="connsiteX1" fmla="*/ 9149846 w 9154046"/>
              <a:gd name="connsiteY1" fmla="*/ 0 h 4930207"/>
              <a:gd name="connsiteX2" fmla="*/ 9149845 w 9154046"/>
              <a:gd name="connsiteY2" fmla="*/ 4813176 h 4930207"/>
              <a:gd name="connsiteX3" fmla="*/ 7384257 w 9154046"/>
              <a:gd name="connsiteY3" fmla="*/ 4843680 h 4930207"/>
              <a:gd name="connsiteX4" fmla="*/ 7381442 w 9154046"/>
              <a:gd name="connsiteY4" fmla="*/ 3543300 h 4930207"/>
              <a:gd name="connsiteX5" fmla="*/ 523124 w 9154046"/>
              <a:gd name="connsiteY5" fmla="*/ 3547023 h 4930207"/>
              <a:gd name="connsiteX6" fmla="*/ 523704 w 9154046"/>
              <a:gd name="connsiteY6" fmla="*/ 4850671 h 4930207"/>
              <a:gd name="connsiteX7" fmla="*/ 0 w 9154046"/>
              <a:gd name="connsiteY7" fmla="*/ 4847509 h 4930207"/>
              <a:gd name="connsiteX8" fmla="*/ 2382 w 9154046"/>
              <a:gd name="connsiteY8" fmla="*/ 0 h 4930207"/>
              <a:gd name="connsiteX0" fmla="*/ 2382 w 9154046"/>
              <a:gd name="connsiteY0" fmla="*/ 0 h 4850673"/>
              <a:gd name="connsiteX1" fmla="*/ 9149846 w 9154046"/>
              <a:gd name="connsiteY1" fmla="*/ 0 h 4850673"/>
              <a:gd name="connsiteX2" fmla="*/ 9149845 w 9154046"/>
              <a:gd name="connsiteY2" fmla="*/ 4813176 h 4850673"/>
              <a:gd name="connsiteX3" fmla="*/ 7384257 w 9154046"/>
              <a:gd name="connsiteY3" fmla="*/ 4843680 h 4850673"/>
              <a:gd name="connsiteX4" fmla="*/ 7381442 w 9154046"/>
              <a:gd name="connsiteY4" fmla="*/ 3543300 h 4850673"/>
              <a:gd name="connsiteX5" fmla="*/ 523124 w 9154046"/>
              <a:gd name="connsiteY5" fmla="*/ 3547023 h 4850673"/>
              <a:gd name="connsiteX6" fmla="*/ 523704 w 9154046"/>
              <a:gd name="connsiteY6" fmla="*/ 4850671 h 4850673"/>
              <a:gd name="connsiteX7" fmla="*/ 0 w 9154046"/>
              <a:gd name="connsiteY7" fmla="*/ 4847509 h 4850673"/>
              <a:gd name="connsiteX8" fmla="*/ 2382 w 9154046"/>
              <a:gd name="connsiteY8" fmla="*/ 0 h 4850673"/>
              <a:gd name="connsiteX0" fmla="*/ 2382 w 9282313"/>
              <a:gd name="connsiteY0" fmla="*/ 0 h 5171093"/>
              <a:gd name="connsiteX1" fmla="*/ 9149846 w 9282313"/>
              <a:gd name="connsiteY1" fmla="*/ 0 h 5171093"/>
              <a:gd name="connsiteX2" fmla="*/ 9149845 w 9282313"/>
              <a:gd name="connsiteY2" fmla="*/ 4813176 h 5171093"/>
              <a:gd name="connsiteX3" fmla="*/ 7384257 w 9282313"/>
              <a:gd name="connsiteY3" fmla="*/ 4821343 h 5171093"/>
              <a:gd name="connsiteX4" fmla="*/ 7381442 w 9282313"/>
              <a:gd name="connsiteY4" fmla="*/ 3543300 h 5171093"/>
              <a:gd name="connsiteX5" fmla="*/ 523124 w 9282313"/>
              <a:gd name="connsiteY5" fmla="*/ 3547023 h 5171093"/>
              <a:gd name="connsiteX6" fmla="*/ 523704 w 9282313"/>
              <a:gd name="connsiteY6" fmla="*/ 4850671 h 5171093"/>
              <a:gd name="connsiteX7" fmla="*/ 0 w 9282313"/>
              <a:gd name="connsiteY7" fmla="*/ 4847509 h 5171093"/>
              <a:gd name="connsiteX8" fmla="*/ 2382 w 9282313"/>
              <a:gd name="connsiteY8" fmla="*/ 0 h 5171093"/>
              <a:gd name="connsiteX0" fmla="*/ 2382 w 9282313"/>
              <a:gd name="connsiteY0" fmla="*/ 0 h 5168611"/>
              <a:gd name="connsiteX1" fmla="*/ 9149846 w 9282313"/>
              <a:gd name="connsiteY1" fmla="*/ 0 h 5168611"/>
              <a:gd name="connsiteX2" fmla="*/ 9149845 w 9282313"/>
              <a:gd name="connsiteY2" fmla="*/ 4813176 h 5168611"/>
              <a:gd name="connsiteX3" fmla="*/ 7384257 w 9282313"/>
              <a:gd name="connsiteY3" fmla="*/ 4813896 h 5168611"/>
              <a:gd name="connsiteX4" fmla="*/ 7381442 w 9282313"/>
              <a:gd name="connsiteY4" fmla="*/ 3543300 h 5168611"/>
              <a:gd name="connsiteX5" fmla="*/ 523124 w 9282313"/>
              <a:gd name="connsiteY5" fmla="*/ 3547023 h 5168611"/>
              <a:gd name="connsiteX6" fmla="*/ 523704 w 9282313"/>
              <a:gd name="connsiteY6" fmla="*/ 4850671 h 5168611"/>
              <a:gd name="connsiteX7" fmla="*/ 0 w 9282313"/>
              <a:gd name="connsiteY7" fmla="*/ 4847509 h 5168611"/>
              <a:gd name="connsiteX8" fmla="*/ 2382 w 9282313"/>
              <a:gd name="connsiteY8" fmla="*/ 0 h 5168611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47542"/>
              <a:gd name="connsiteX1" fmla="*/ 9149846 w 9153055"/>
              <a:gd name="connsiteY1" fmla="*/ 0 h 4847542"/>
              <a:gd name="connsiteX2" fmla="*/ 9149845 w 9153055"/>
              <a:gd name="connsiteY2" fmla="*/ 4813176 h 4847542"/>
              <a:gd name="connsiteX3" fmla="*/ 7384257 w 9153055"/>
              <a:gd name="connsiteY3" fmla="*/ 4813896 h 4847542"/>
              <a:gd name="connsiteX4" fmla="*/ 7381442 w 9153055"/>
              <a:gd name="connsiteY4" fmla="*/ 3543300 h 4847542"/>
              <a:gd name="connsiteX5" fmla="*/ 523124 w 9153055"/>
              <a:gd name="connsiteY5" fmla="*/ 3547023 h 4847542"/>
              <a:gd name="connsiteX6" fmla="*/ 517484 w 9153055"/>
              <a:gd name="connsiteY6" fmla="*/ 4825851 h 4847542"/>
              <a:gd name="connsiteX7" fmla="*/ 0 w 9153055"/>
              <a:gd name="connsiteY7" fmla="*/ 4847509 h 4847542"/>
              <a:gd name="connsiteX8" fmla="*/ 2382 w 9153055"/>
              <a:gd name="connsiteY8" fmla="*/ 0 h 4847542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0 w 9150673"/>
              <a:gd name="connsiteY0" fmla="*/ 0 h 4825853"/>
              <a:gd name="connsiteX1" fmla="*/ 9147464 w 9150673"/>
              <a:gd name="connsiteY1" fmla="*/ 0 h 4825853"/>
              <a:gd name="connsiteX2" fmla="*/ 9147463 w 9150673"/>
              <a:gd name="connsiteY2" fmla="*/ 4813176 h 4825853"/>
              <a:gd name="connsiteX3" fmla="*/ 7381875 w 9150673"/>
              <a:gd name="connsiteY3" fmla="*/ 4813896 h 4825853"/>
              <a:gd name="connsiteX4" fmla="*/ 7379060 w 9150673"/>
              <a:gd name="connsiteY4" fmla="*/ 3543300 h 4825853"/>
              <a:gd name="connsiteX5" fmla="*/ 520742 w 9150673"/>
              <a:gd name="connsiteY5" fmla="*/ 3547023 h 4825853"/>
              <a:gd name="connsiteX6" fmla="*/ 515102 w 9150673"/>
              <a:gd name="connsiteY6" fmla="*/ 4825851 h 4825853"/>
              <a:gd name="connsiteX7" fmla="*/ 2770 w 9150673"/>
              <a:gd name="connsiteY7" fmla="*/ 4817115 h 4825853"/>
              <a:gd name="connsiteX8" fmla="*/ 0 w 9150673"/>
              <a:gd name="connsiteY8" fmla="*/ 0 h 4825853"/>
              <a:gd name="connsiteX0" fmla="*/ 0 w 9150673"/>
              <a:gd name="connsiteY0" fmla="*/ 0 h 4818145"/>
              <a:gd name="connsiteX1" fmla="*/ 9147464 w 9150673"/>
              <a:gd name="connsiteY1" fmla="*/ 0 h 4818145"/>
              <a:gd name="connsiteX2" fmla="*/ 9147463 w 9150673"/>
              <a:gd name="connsiteY2" fmla="*/ 4813176 h 4818145"/>
              <a:gd name="connsiteX3" fmla="*/ 7381875 w 9150673"/>
              <a:gd name="connsiteY3" fmla="*/ 4813896 h 4818145"/>
              <a:gd name="connsiteX4" fmla="*/ 7379060 w 9150673"/>
              <a:gd name="connsiteY4" fmla="*/ 3543300 h 4818145"/>
              <a:gd name="connsiteX5" fmla="*/ 520742 w 9150673"/>
              <a:gd name="connsiteY5" fmla="*/ 3547023 h 4818145"/>
              <a:gd name="connsiteX6" fmla="*/ 515102 w 9150673"/>
              <a:gd name="connsiteY6" fmla="*/ 4818143 h 4818145"/>
              <a:gd name="connsiteX7" fmla="*/ 2770 w 9150673"/>
              <a:gd name="connsiteY7" fmla="*/ 4817115 h 4818145"/>
              <a:gd name="connsiteX8" fmla="*/ 0 w 9150673"/>
              <a:gd name="connsiteY8" fmla="*/ 0 h 4818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50673" h="4818145">
                <a:moveTo>
                  <a:pt x="0" y="0"/>
                </a:moveTo>
                <a:lnTo>
                  <a:pt x="9147464" y="0"/>
                </a:lnTo>
                <a:cubicBezTo>
                  <a:pt x="9154968" y="4079"/>
                  <a:pt x="9146880" y="4807581"/>
                  <a:pt x="9147463" y="4813176"/>
                </a:cubicBezTo>
                <a:cubicBezTo>
                  <a:pt x="9148046" y="4818771"/>
                  <a:pt x="7385663" y="4807873"/>
                  <a:pt x="7381875" y="4813896"/>
                </a:cubicBezTo>
                <a:cubicBezTo>
                  <a:pt x="7378087" y="4819919"/>
                  <a:pt x="7380515" y="3538511"/>
                  <a:pt x="7379060" y="3543300"/>
                </a:cubicBezTo>
                <a:cubicBezTo>
                  <a:pt x="7377605" y="3548089"/>
                  <a:pt x="2806848" y="3545782"/>
                  <a:pt x="520742" y="3547023"/>
                </a:cubicBezTo>
                <a:cubicBezTo>
                  <a:pt x="519025" y="3777370"/>
                  <a:pt x="515915" y="4819927"/>
                  <a:pt x="515102" y="4818143"/>
                </a:cubicBezTo>
                <a:cubicBezTo>
                  <a:pt x="514289" y="4816359"/>
                  <a:pt x="257002" y="4818169"/>
                  <a:pt x="2770" y="4817115"/>
                </a:cubicBezTo>
                <a:cubicBezTo>
                  <a:pt x="1847" y="3211410"/>
                  <a:pt x="923" y="1605705"/>
                  <a:pt x="0" y="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449391" y="4027623"/>
            <a:ext cx="7041743" cy="835200"/>
          </a:xfrm>
          <a:noFill/>
        </p:spPr>
        <p:txBody>
          <a:bodyPr lIns="0" tIns="0" rIns="0" anchor="ctr" anchorCtr="0"/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449391" y="5096741"/>
            <a:ext cx="7041743" cy="365979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9391" y="5636735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9391" y="5892934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noProof="1"/>
              <a:t>Click to insert Role in Organisation</a:t>
            </a:r>
          </a:p>
        </p:txBody>
      </p:sp>
      <p:sp>
        <p:nvSpPr>
          <p:cNvPr id="98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9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DFBA3728-8DE2-4682-8EED-CC02ED1D5CDB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568" userDrawn="1">
          <p15:clr>
            <a:srgbClr val="FBAE40"/>
          </p15:clr>
        </p15:guide>
        <p15:guide id="4" pos="5979" userDrawn="1">
          <p15:clr>
            <a:srgbClr val="FBAE40"/>
          </p15:clr>
        </p15:guide>
        <p15:guide id="5" orient="horz" pos="2260" userDrawn="1">
          <p15:clr>
            <a:srgbClr val="FBAE40"/>
          </p15:clr>
        </p15:guide>
        <p15:guide id="6" orient="horz" pos="299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534554" y="3554414"/>
            <a:ext cx="9291013" cy="2797175"/>
            <a:chOff x="400915" y="3554413"/>
            <a:chExt cx="6968260" cy="2797175"/>
          </a:xfrm>
        </p:grpSpPr>
        <p:sp>
          <p:nvSpPr>
            <p:cNvPr id="102" name="Rectangle 101"/>
            <p:cNvSpPr/>
            <p:nvPr userDrawn="1"/>
          </p:nvSpPr>
          <p:spPr bwMode="gray">
            <a:xfrm>
              <a:off x="504824" y="3554413"/>
              <a:ext cx="6864351" cy="2797175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103" name="Rectangle 102" descr="&lt;Shell Yellow Bar&gt;" title="&lt;Shell Yellow Bar&gt;"/>
            <p:cNvSpPr/>
            <p:nvPr userDrawn="1"/>
          </p:nvSpPr>
          <p:spPr bwMode="gray">
            <a:xfrm>
              <a:off x="1832301" y="3829099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schemeClr val="tx1"/>
                </a:solidFill>
              </a:endParaRPr>
            </a:p>
          </p:txBody>
        </p:sp>
        <p:pic>
          <p:nvPicPr>
            <p:cNvPr id="104" name="Picture 103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00915" y="3688499"/>
              <a:ext cx="1465237" cy="1465237"/>
            </a:xfrm>
            <a:prstGeom prst="rect">
              <a:avLst/>
            </a:prstGeom>
          </p:spPr>
        </p:pic>
      </p:grpSp>
      <p:sp>
        <p:nvSpPr>
          <p:cNvPr id="98" name="Picture Placeholder 2"/>
          <p:cNvSpPr>
            <a:spLocks noGrp="1"/>
          </p:cNvSpPr>
          <p:nvPr userDrawn="1">
            <p:ph type="pic" sz="quarter" idx="14"/>
          </p:nvPr>
        </p:nvSpPr>
        <p:spPr bwMode="auto">
          <a:xfrm>
            <a:off x="1" y="1"/>
            <a:ext cx="12192000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9398360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9419626"/>
              <a:gd name="connsiteY0" fmla="*/ 0 h 6857999"/>
              <a:gd name="connsiteX1" fmla="*/ 9398360 w 9419626"/>
              <a:gd name="connsiteY1" fmla="*/ 0 h 6857999"/>
              <a:gd name="connsiteX2" fmla="*/ 9419626 w 9419626"/>
              <a:gd name="connsiteY2" fmla="*/ 6857999 h 6857999"/>
              <a:gd name="connsiteX3" fmla="*/ 0 w 9419626"/>
              <a:gd name="connsiteY3" fmla="*/ 6857999 h 6857999"/>
              <a:gd name="connsiteX4" fmla="*/ 0 w 9419626"/>
              <a:gd name="connsiteY4" fmla="*/ 0 h 6857999"/>
              <a:gd name="connsiteX5" fmla="*/ 753155 w 9419626"/>
              <a:gd name="connsiteY5" fmla="*/ 3560901 h 6857999"/>
              <a:gd name="connsiteX6" fmla="*/ 763913 w 9419626"/>
              <a:gd name="connsiteY6" fmla="*/ 6359075 h 6857999"/>
              <a:gd name="connsiteX7" fmla="*/ 7622163 w 9419626"/>
              <a:gd name="connsiteY7" fmla="*/ 6355342 h 6857999"/>
              <a:gd name="connsiteX8" fmla="*/ 7622603 w 9419626"/>
              <a:gd name="connsiteY8" fmla="*/ 3560901 h 6857999"/>
              <a:gd name="connsiteX9" fmla="*/ 753155 w 9419626"/>
              <a:gd name="connsiteY9" fmla="*/ 3560901 h 6857999"/>
              <a:gd name="connsiteX0" fmla="*/ 0 w 9419626"/>
              <a:gd name="connsiteY0" fmla="*/ 0 h 6857999"/>
              <a:gd name="connsiteX1" fmla="*/ 9398360 w 9419626"/>
              <a:gd name="connsiteY1" fmla="*/ 0 h 6857999"/>
              <a:gd name="connsiteX2" fmla="*/ 9419626 w 9419626"/>
              <a:gd name="connsiteY2" fmla="*/ 6857999 h 6857999"/>
              <a:gd name="connsiteX3" fmla="*/ 233916 w 9419626"/>
              <a:gd name="connsiteY3" fmla="*/ 6857999 h 6857999"/>
              <a:gd name="connsiteX4" fmla="*/ 0 w 9419626"/>
              <a:gd name="connsiteY4" fmla="*/ 0 h 6857999"/>
              <a:gd name="connsiteX5" fmla="*/ 753155 w 9419626"/>
              <a:gd name="connsiteY5" fmla="*/ 3560901 h 6857999"/>
              <a:gd name="connsiteX6" fmla="*/ 763913 w 9419626"/>
              <a:gd name="connsiteY6" fmla="*/ 6359075 h 6857999"/>
              <a:gd name="connsiteX7" fmla="*/ 7622163 w 9419626"/>
              <a:gd name="connsiteY7" fmla="*/ 6355342 h 6857999"/>
              <a:gd name="connsiteX8" fmla="*/ 7622603 w 9419626"/>
              <a:gd name="connsiteY8" fmla="*/ 3560901 h 6857999"/>
              <a:gd name="connsiteX9" fmla="*/ 753155 w 9419626"/>
              <a:gd name="connsiteY9" fmla="*/ 3560901 h 6857999"/>
              <a:gd name="connsiteX0" fmla="*/ 10633 w 9185710"/>
              <a:gd name="connsiteY0" fmla="*/ 0 h 6857999"/>
              <a:gd name="connsiteX1" fmla="*/ 9164444 w 9185710"/>
              <a:gd name="connsiteY1" fmla="*/ 0 h 6857999"/>
              <a:gd name="connsiteX2" fmla="*/ 9185710 w 9185710"/>
              <a:gd name="connsiteY2" fmla="*/ 6857999 h 6857999"/>
              <a:gd name="connsiteX3" fmla="*/ 0 w 9185710"/>
              <a:gd name="connsiteY3" fmla="*/ 6857999 h 6857999"/>
              <a:gd name="connsiteX4" fmla="*/ 10633 w 9185710"/>
              <a:gd name="connsiteY4" fmla="*/ 0 h 6857999"/>
              <a:gd name="connsiteX5" fmla="*/ 519239 w 9185710"/>
              <a:gd name="connsiteY5" fmla="*/ 3560901 h 6857999"/>
              <a:gd name="connsiteX6" fmla="*/ 529997 w 9185710"/>
              <a:gd name="connsiteY6" fmla="*/ 6359075 h 6857999"/>
              <a:gd name="connsiteX7" fmla="*/ 7388247 w 9185710"/>
              <a:gd name="connsiteY7" fmla="*/ 6355342 h 6857999"/>
              <a:gd name="connsiteX8" fmla="*/ 7388687 w 9185710"/>
              <a:gd name="connsiteY8" fmla="*/ 3560901 h 6857999"/>
              <a:gd name="connsiteX9" fmla="*/ 519239 w 9185710"/>
              <a:gd name="connsiteY9" fmla="*/ 3560901 h 6857999"/>
              <a:gd name="connsiteX0" fmla="*/ 1023 w 9186733"/>
              <a:gd name="connsiteY0" fmla="*/ 0 h 6857999"/>
              <a:gd name="connsiteX1" fmla="*/ 9165467 w 9186733"/>
              <a:gd name="connsiteY1" fmla="*/ 0 h 6857999"/>
              <a:gd name="connsiteX2" fmla="*/ 9186733 w 9186733"/>
              <a:gd name="connsiteY2" fmla="*/ 6857999 h 6857999"/>
              <a:gd name="connsiteX3" fmla="*/ 1023 w 9186733"/>
              <a:gd name="connsiteY3" fmla="*/ 6857999 h 6857999"/>
              <a:gd name="connsiteX4" fmla="*/ 1023 w 9186733"/>
              <a:gd name="connsiteY4" fmla="*/ 0 h 6857999"/>
              <a:gd name="connsiteX5" fmla="*/ 520262 w 9186733"/>
              <a:gd name="connsiteY5" fmla="*/ 3560901 h 6857999"/>
              <a:gd name="connsiteX6" fmla="*/ 531020 w 9186733"/>
              <a:gd name="connsiteY6" fmla="*/ 6359075 h 6857999"/>
              <a:gd name="connsiteX7" fmla="*/ 7389270 w 9186733"/>
              <a:gd name="connsiteY7" fmla="*/ 6355342 h 6857999"/>
              <a:gd name="connsiteX8" fmla="*/ 7389710 w 9186733"/>
              <a:gd name="connsiteY8" fmla="*/ 3560901 h 6857999"/>
              <a:gd name="connsiteX9" fmla="*/ 520262 w 9186733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389270 w 9187015"/>
              <a:gd name="connsiteY7" fmla="*/ 6355342 h 6857999"/>
              <a:gd name="connsiteX8" fmla="*/ 7389710 w 9187015"/>
              <a:gd name="connsiteY8" fmla="*/ 3560901 h 6857999"/>
              <a:gd name="connsiteX9" fmla="*/ 520262 w 9187015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389270 w 9187015"/>
              <a:gd name="connsiteY7" fmla="*/ 6355342 h 6857999"/>
              <a:gd name="connsiteX8" fmla="*/ 7405739 w 9187015"/>
              <a:gd name="connsiteY8" fmla="*/ 3560901 h 6857999"/>
              <a:gd name="connsiteX9" fmla="*/ 520262 w 9187015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405299 w 9187015"/>
              <a:gd name="connsiteY7" fmla="*/ 6355342 h 6857999"/>
              <a:gd name="connsiteX8" fmla="*/ 7405739 w 9187015"/>
              <a:gd name="connsiteY8" fmla="*/ 3560901 h 6857999"/>
              <a:gd name="connsiteX9" fmla="*/ 520262 w 9187015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87015" h="6857999">
                <a:moveTo>
                  <a:pt x="1023" y="0"/>
                </a:moveTo>
                <a:lnTo>
                  <a:pt x="9184703" y="0"/>
                </a:lnTo>
                <a:cubicBezTo>
                  <a:pt x="9191792" y="2286000"/>
                  <a:pt x="9179644" y="4571999"/>
                  <a:pt x="9186733" y="6857999"/>
                </a:cubicBezTo>
                <a:lnTo>
                  <a:pt x="1023" y="6857999"/>
                </a:lnTo>
                <a:cubicBezTo>
                  <a:pt x="4567" y="4571999"/>
                  <a:pt x="-2521" y="2286000"/>
                  <a:pt x="1023" y="0"/>
                </a:cubicBezTo>
                <a:close/>
                <a:moveTo>
                  <a:pt x="520262" y="3560901"/>
                </a:moveTo>
                <a:lnTo>
                  <a:pt x="531020" y="6359075"/>
                </a:lnTo>
                <a:lnTo>
                  <a:pt x="7405299" y="6355342"/>
                </a:lnTo>
                <a:cubicBezTo>
                  <a:pt x="7401713" y="5510947"/>
                  <a:pt x="7409325" y="4405296"/>
                  <a:pt x="7405739" y="3560901"/>
                </a:cubicBezTo>
                <a:lnTo>
                  <a:pt x="520262" y="3560901"/>
                </a:ln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449391" y="4028400"/>
            <a:ext cx="7041743" cy="835200"/>
          </a:xfrm>
          <a:noFill/>
        </p:spPr>
        <p:txBody>
          <a:bodyPr lIns="0" tIns="0" rIns="0" anchor="ctr" anchorCtr="0"/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449391" y="5096741"/>
            <a:ext cx="7041743" cy="365979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9391" y="5636735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9391" y="5892934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noProof="1"/>
              <a:t>Click to insert Role in Organisation</a:t>
            </a:r>
          </a:p>
        </p:txBody>
      </p:sp>
      <p:sp>
        <p:nvSpPr>
          <p:cNvPr id="99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100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3861D6E5-2980-468C-96B8-8DF9589717E6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6339532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3" orient="horz" pos="4001" userDrawn="1">
          <p15:clr>
            <a:srgbClr val="FBAE40"/>
          </p15:clr>
        </p15:guide>
        <p15:guide id="4" pos="618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2727" y="728663"/>
            <a:ext cx="10846173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1084580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59000" indent="-228600">
              <a:defRPr lang="en-GB" dirty="0" smtClean="0"/>
            </a:lvl3pPr>
            <a:lvl4pPr marL="687600" indent="-228600">
              <a:defRPr lang="en-GB" dirty="0" smtClean="0"/>
            </a:lvl4pPr>
            <a:lvl5pPr marL="890800" indent="-203200">
              <a:defRPr lang="en-GB" dirty="0" smtClean="0"/>
            </a:lvl5pPr>
            <a:lvl6pPr marL="1043200" indent="-152400">
              <a:defRPr lang="en-GB" dirty="0" smtClean="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B4E19EAA-CE63-46D0-BA8E-563598E3F36F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5176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9108537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9160493"/>
              <a:gd name="connsiteY0" fmla="*/ 0 h 6857999"/>
              <a:gd name="connsiteX1" fmla="*/ 9108537 w 9160493"/>
              <a:gd name="connsiteY1" fmla="*/ 0 h 6857999"/>
              <a:gd name="connsiteX2" fmla="*/ 9160493 w 9160493"/>
              <a:gd name="connsiteY2" fmla="*/ 6857999 h 6857999"/>
              <a:gd name="connsiteX3" fmla="*/ 0 w 9160493"/>
              <a:gd name="connsiteY3" fmla="*/ 6857999 h 6857999"/>
              <a:gd name="connsiteX4" fmla="*/ 0 w 9160493"/>
              <a:gd name="connsiteY4" fmla="*/ 0 h 6857999"/>
              <a:gd name="connsiteX5" fmla="*/ 508891 w 9160493"/>
              <a:gd name="connsiteY5" fmla="*/ 511425 h 6857999"/>
              <a:gd name="connsiteX6" fmla="*/ 511097 w 9160493"/>
              <a:gd name="connsiteY6" fmla="*/ 583270 h 6857999"/>
              <a:gd name="connsiteX7" fmla="*/ 1774181 w 9160493"/>
              <a:gd name="connsiteY7" fmla="*/ 585272 h 6857999"/>
              <a:gd name="connsiteX8" fmla="*/ 1769076 w 9160493"/>
              <a:gd name="connsiteY8" fmla="*/ 508490 h 6857999"/>
              <a:gd name="connsiteX9" fmla="*/ 508891 w 9160493"/>
              <a:gd name="connsiteY9" fmla="*/ 511425 h 6857999"/>
              <a:gd name="connsiteX0" fmla="*/ 0 w 9160493"/>
              <a:gd name="connsiteY0" fmla="*/ 0 h 6857999"/>
              <a:gd name="connsiteX1" fmla="*/ 9151400 w 9160493"/>
              <a:gd name="connsiteY1" fmla="*/ 0 h 6857999"/>
              <a:gd name="connsiteX2" fmla="*/ 9160493 w 9160493"/>
              <a:gd name="connsiteY2" fmla="*/ 6857999 h 6857999"/>
              <a:gd name="connsiteX3" fmla="*/ 0 w 9160493"/>
              <a:gd name="connsiteY3" fmla="*/ 6857999 h 6857999"/>
              <a:gd name="connsiteX4" fmla="*/ 0 w 9160493"/>
              <a:gd name="connsiteY4" fmla="*/ 0 h 6857999"/>
              <a:gd name="connsiteX5" fmla="*/ 508891 w 9160493"/>
              <a:gd name="connsiteY5" fmla="*/ 511425 h 6857999"/>
              <a:gd name="connsiteX6" fmla="*/ 511097 w 9160493"/>
              <a:gd name="connsiteY6" fmla="*/ 583270 h 6857999"/>
              <a:gd name="connsiteX7" fmla="*/ 1774181 w 9160493"/>
              <a:gd name="connsiteY7" fmla="*/ 585272 h 6857999"/>
              <a:gd name="connsiteX8" fmla="*/ 1769076 w 9160493"/>
              <a:gd name="connsiteY8" fmla="*/ 508490 h 6857999"/>
              <a:gd name="connsiteX9" fmla="*/ 508891 w 9160493"/>
              <a:gd name="connsiteY9" fmla="*/ 511425 h 6857999"/>
              <a:gd name="connsiteX0" fmla="*/ 0 w 9154778"/>
              <a:gd name="connsiteY0" fmla="*/ 0 h 6857999"/>
              <a:gd name="connsiteX1" fmla="*/ 9151400 w 9154778"/>
              <a:gd name="connsiteY1" fmla="*/ 0 h 6857999"/>
              <a:gd name="connsiteX2" fmla="*/ 9154778 w 9154778"/>
              <a:gd name="connsiteY2" fmla="*/ 6857999 h 6857999"/>
              <a:gd name="connsiteX3" fmla="*/ 0 w 9154778"/>
              <a:gd name="connsiteY3" fmla="*/ 6857999 h 6857999"/>
              <a:gd name="connsiteX4" fmla="*/ 0 w 9154778"/>
              <a:gd name="connsiteY4" fmla="*/ 0 h 6857999"/>
              <a:gd name="connsiteX5" fmla="*/ 508891 w 9154778"/>
              <a:gd name="connsiteY5" fmla="*/ 511425 h 6857999"/>
              <a:gd name="connsiteX6" fmla="*/ 511097 w 9154778"/>
              <a:gd name="connsiteY6" fmla="*/ 583270 h 6857999"/>
              <a:gd name="connsiteX7" fmla="*/ 1774181 w 9154778"/>
              <a:gd name="connsiteY7" fmla="*/ 585272 h 6857999"/>
              <a:gd name="connsiteX8" fmla="*/ 1769076 w 9154778"/>
              <a:gd name="connsiteY8" fmla="*/ 508490 h 6857999"/>
              <a:gd name="connsiteX9" fmla="*/ 508891 w 9154778"/>
              <a:gd name="connsiteY9" fmla="*/ 511425 h 6857999"/>
              <a:gd name="connsiteX0" fmla="*/ 0 w 9154778"/>
              <a:gd name="connsiteY0" fmla="*/ 0 h 6857999"/>
              <a:gd name="connsiteX1" fmla="*/ 9151400 w 9154778"/>
              <a:gd name="connsiteY1" fmla="*/ 0 h 6857999"/>
              <a:gd name="connsiteX2" fmla="*/ 9154778 w 9154778"/>
              <a:gd name="connsiteY2" fmla="*/ 6857999 h 6857999"/>
              <a:gd name="connsiteX3" fmla="*/ 0 w 9154778"/>
              <a:gd name="connsiteY3" fmla="*/ 6857999 h 6857999"/>
              <a:gd name="connsiteX4" fmla="*/ 0 w 9154778"/>
              <a:gd name="connsiteY4" fmla="*/ 0 h 6857999"/>
              <a:gd name="connsiteX5" fmla="*/ 508891 w 9154778"/>
              <a:gd name="connsiteY5" fmla="*/ 511425 h 6857999"/>
              <a:gd name="connsiteX6" fmla="*/ 511097 w 9154778"/>
              <a:gd name="connsiteY6" fmla="*/ 583270 h 6857999"/>
              <a:gd name="connsiteX7" fmla="*/ 1774181 w 9154778"/>
              <a:gd name="connsiteY7" fmla="*/ 585272 h 6857999"/>
              <a:gd name="connsiteX8" fmla="*/ 1769076 w 9154778"/>
              <a:gd name="connsiteY8" fmla="*/ 508490 h 6857999"/>
              <a:gd name="connsiteX9" fmla="*/ 508891 w 9154778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54778" h="6857999">
                <a:moveTo>
                  <a:pt x="0" y="0"/>
                </a:moveTo>
                <a:lnTo>
                  <a:pt x="9151400" y="0"/>
                </a:lnTo>
                <a:lnTo>
                  <a:pt x="9154778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68022" y="508891"/>
                  <a:pt x="1769076" y="508490"/>
                </a:cubicBezTo>
                <a:cubicBezTo>
                  <a:pt x="1770130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2727" y="728663"/>
            <a:ext cx="10846173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523028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59000" indent="-228600">
              <a:defRPr lang="en-GB" dirty="0" smtClean="0"/>
            </a:lvl3pPr>
            <a:lvl4pPr marL="687600" indent="-228600">
              <a:defRPr lang="en-GB" dirty="0" smtClean="0"/>
            </a:lvl4pPr>
            <a:lvl5pPr marL="890800" indent="-203200">
              <a:defRPr lang="en-GB" dirty="0" smtClean="0"/>
            </a:lvl5pPr>
            <a:lvl6pPr marL="1043200" indent="-152400">
              <a:defRPr lang="en-GB" dirty="0" smtClean="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90FC0145-AEC3-474E-A5C3-1164925D4ACE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7991037"/>
      </p:ext>
    </p:extLst>
  </p:cSld>
  <p:clrMapOvr>
    <a:masterClrMapping/>
  </p:clrMapOvr>
  <p:transition/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10845800" cy="4694237"/>
          </a:xfrm>
        </p:spPr>
        <p:txBody>
          <a:bodyPr/>
          <a:lstStyle>
            <a:lvl1pPr marL="0" indent="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 marL="176400" indent="-17640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 marL="354200" indent="-17780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5pPr>
            <a:lvl6pPr marL="817750" indent="-133350" defTabSz="268288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DFE28D79-F9A7-4FBC-B931-1BDAE33ECB82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2932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88617" y="1557339"/>
            <a:ext cx="5230283" cy="469423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59000" indent="-228600">
              <a:defRPr lang="en-GB" dirty="0" smtClean="0"/>
            </a:lvl3pPr>
            <a:lvl4pPr marL="687600" indent="-228600">
              <a:defRPr lang="en-GB" dirty="0" smtClean="0"/>
            </a:lvl4pPr>
            <a:lvl5pPr marL="890800" indent="-203200">
              <a:defRPr lang="en-GB" dirty="0" smtClean="0"/>
            </a:lvl5pPr>
            <a:lvl6pPr marL="1043200" indent="-152400">
              <a:defRPr lang="en-GB" dirty="0" smtClean="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73101" y="1557339"/>
            <a:ext cx="5230284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59000" indent="-228600">
              <a:defRPr lang="en-GB" dirty="0" smtClean="0"/>
            </a:lvl3pPr>
            <a:lvl4pPr marL="687600" indent="-228600">
              <a:defRPr lang="en-GB" dirty="0" smtClean="0"/>
            </a:lvl4pPr>
            <a:lvl5pPr marL="890800" indent="-203200">
              <a:defRPr lang="en-GB" dirty="0" smtClean="0"/>
            </a:lvl5pPr>
            <a:lvl6pPr marL="1043200" indent="-152400">
              <a:defRPr lang="en-GB" dirty="0" smtClean="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9E39E9F5-3F17-4409-87B6-3E4554799576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88617" y="1557339"/>
            <a:ext cx="523028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1400" dirty="0" smtClean="0"/>
            </a:lvl1pPr>
            <a:lvl2pPr marL="176400" indent="-176400">
              <a:defRPr lang="en-US" sz="1400" dirty="0" smtClean="0"/>
            </a:lvl2pPr>
            <a:lvl3pPr marL="354200" indent="-177800">
              <a:defRPr lang="en-US" sz="1400" dirty="0" smtClean="0"/>
            </a:lvl3pPr>
            <a:lvl4pPr marL="532000" indent="-177800">
              <a:defRPr lang="en-US" sz="1400" dirty="0" smtClean="0"/>
            </a:lvl4pPr>
            <a:lvl5pPr marL="684400" indent="-152400">
              <a:defRPr lang="en-US" sz="1200" dirty="0" smtClean="0"/>
            </a:lvl5pPr>
            <a:lvl6pPr marL="824100" indent="-139700">
              <a:defRPr lang="en-US" sz="1100" dirty="0" smtClean="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73100" y="1557339"/>
            <a:ext cx="5230285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1400" dirty="0" smtClean="0"/>
            </a:lvl1pPr>
            <a:lvl2pPr marL="176400" indent="-176400">
              <a:defRPr lang="en-GB" sz="1400" dirty="0" smtClean="0"/>
            </a:lvl2pPr>
            <a:lvl3pPr marL="354200" indent="-177800">
              <a:defRPr lang="en-GB" sz="1400" dirty="0" smtClean="0"/>
            </a:lvl3pPr>
            <a:lvl4pPr marL="532000" indent="-177800">
              <a:defRPr lang="en-GB" sz="1400" dirty="0" smtClean="0"/>
            </a:lvl4pPr>
            <a:lvl5pPr marL="684400" indent="-152400">
              <a:defRPr lang="en-GB" sz="1200" dirty="0" smtClean="0"/>
            </a:lvl5pPr>
            <a:lvl6pPr marL="824100" indent="-139700">
              <a:defRPr lang="en-GB" sz="1100" dirty="0" smtClean="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75200" y="6478119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026C9B78-9865-4E4B-BB34-7A12A47A5596}"/>
              </a:ext>
            </a:extLst>
          </p:cNvPr>
          <p:cNvSpPr txBox="1"/>
          <p:nvPr userDrawn="1"/>
        </p:nvSpPr>
        <p:spPr>
          <a:xfrm>
            <a:off x="8133067" y="6481428"/>
            <a:ext cx="1439333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8E2FA1-4112-46F0-8AF4-80AAB759BC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5437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6" imgH="396" progId="TCLayout.ActiveDocument.1">
                  <p:embed/>
                </p:oleObj>
              </mc:Choice>
              <mc:Fallback>
                <p:oleObj name="think-cell Slide" r:id="rId21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A6D836-39C4-4736-9680-1D1DBFA0312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0" i="0" baseline="0" dirty="0">
              <a:latin typeface="ShellBold" panose="00000800000000000000" pitchFamily="50" charset="0"/>
              <a:ea typeface="+mj-ea"/>
              <a:cs typeface="+mj-cs"/>
              <a:sym typeface="ShellBold" panose="00000800000000000000" pitchFamily="50" charset="0"/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1556950"/>
            <a:ext cx="10845800" cy="4694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4"/>
            <a:ext cx="10845801" cy="7556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68" name="Rectangle 67" descr="&lt;Shell Yellow Bar&gt;" title="&lt;Shell Yellow Bar&gt;"/>
          <p:cNvSpPr/>
          <p:nvPr userDrawn="1"/>
        </p:nvSpPr>
        <p:spPr bwMode="gray">
          <a:xfrm>
            <a:off x="672000" y="508000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69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Nigeria</a:t>
            </a:r>
          </a:p>
        </p:txBody>
      </p:sp>
      <p:sp>
        <p:nvSpPr>
          <p:cNvPr id="70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7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1"/>
              <a:t>October 2019</a:t>
            </a:r>
          </a:p>
        </p:txBody>
      </p:sp>
      <p:sp>
        <p:nvSpPr>
          <p:cNvPr id="7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4800" y="6478095"/>
            <a:ext cx="336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7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8" r:id="rId12"/>
    <p:sldLayoutId id="2147483678" r:id="rId13"/>
    <p:sldLayoutId id="2147483700" r:id="rId14"/>
    <p:sldLayoutId id="2147483681" r:id="rId15"/>
    <p:sldLayoutId id="2147483682" r:id="rId16"/>
    <p:sldLayoutId id="2147483683" r:id="rId17"/>
  </p:sldLayoutIdLst>
  <p:transition>
    <p:fade/>
  </p:transition>
  <p:hf hdr="0"/>
  <p:txStyles>
    <p:titleStyle>
      <a:lvl1pPr algn="l" defTabSz="914400" rtl="0" eaLnBrk="1" latinLnBrk="0" hangingPunct="1">
        <a:spcBef>
          <a:spcPct val="0"/>
        </a:spcBef>
        <a:buNone/>
        <a:defRPr lang="en-GB" sz="2400" b="0" kern="1200" cap="none" baseline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424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256" userDrawn="1">
          <p15:clr>
            <a:srgbClr val="F26B43"/>
          </p15:clr>
        </p15:guide>
        <p15:guide id="5" orient="horz" pos="323" userDrawn="1">
          <p15:clr>
            <a:srgbClr val="F26B43"/>
          </p15:clr>
        </p15:guide>
        <p15:guide id="6" orient="horz" pos="368" userDrawn="1">
          <p15:clr>
            <a:srgbClr val="F26B43"/>
          </p15:clr>
        </p15:guide>
        <p15:guide id="7" orient="horz" pos="459" userDrawn="1">
          <p15:clr>
            <a:srgbClr val="F26B43"/>
          </p15:clr>
        </p15:guide>
        <p15:guide id="8" orient="horz" pos="935" userDrawn="1">
          <p15:clr>
            <a:srgbClr val="F26B43"/>
          </p15:clr>
        </p15:guide>
        <p15:guide id="9" orient="horz" pos="981" userDrawn="1">
          <p15:clr>
            <a:srgbClr val="F26B43"/>
          </p15:clr>
        </p15:guide>
        <p15:guide id="10" orient="horz" pos="3938" userDrawn="1">
          <p15:clr>
            <a:srgbClr val="F26B43"/>
          </p15:clr>
        </p15:guide>
        <p15:guide id="11" orient="horz" pos="4078" userDrawn="1">
          <p15:clr>
            <a:srgbClr val="F26B43"/>
          </p15:clr>
        </p15:guide>
        <p15:guide id="12" orient="horz" pos="4229" userDrawn="1">
          <p15:clr>
            <a:srgbClr val="F26B43"/>
          </p15:clr>
        </p15:guide>
        <p15:guide id="13" pos="1481" userDrawn="1">
          <p15:clr>
            <a:srgbClr val="F26B43"/>
          </p15:clr>
        </p15:guide>
        <p15:guide id="14" pos="3961" userDrawn="1">
          <p15:clr>
            <a:srgbClr val="F26B43"/>
          </p15:clr>
        </p15:guide>
        <p15:guide id="15" pos="3719" userDrawn="1">
          <p15:clr>
            <a:srgbClr val="F26B43"/>
          </p15:clr>
        </p15:guide>
        <p15:guide id="16" pos="5097" userDrawn="1">
          <p15:clr>
            <a:srgbClr val="F26B43"/>
          </p15:clr>
        </p15:guide>
        <p15:guide id="17" pos="2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046BC5DE-C198-4A17-B9F3-3C31615A99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00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C9210CA0-DEAD-4780-AB23-4A3355BFA4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dirty="0">
              <a:latin typeface="ShellMedium" panose="00000600000000000000" pitchFamily="50" charset="0"/>
              <a:ea typeface="+mj-ea"/>
              <a:cs typeface="Arial" panose="020B0604020202020204" pitchFamily="34" charset="0"/>
              <a:sym typeface="ShellBold" panose="00000800000000000000" pitchFamily="50" charset="0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Marine Logistics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Competence &amp; Capability Workstream (WS3)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3FCE6E7-0435-4AC9-BC4E-7F27AEC31F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2FA1D31-1396-4F3D-B723-842278C5F3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" name="Picture Placeholder 12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52" r="7152"/>
          <a:stretch/>
        </p:blipFill>
        <p:spPr/>
      </p:pic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1</a:t>
            </a:fld>
            <a:endParaRPr lang="en-GB" noProof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October 2019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noProof="1"/>
              <a:t> </a:t>
            </a:r>
          </a:p>
        </p:txBody>
      </p:sp>
      <p:sp>
        <p:nvSpPr>
          <p:cNvPr id="20" name="Rectangle 19" descr="&lt;Shell Yellow Bar&gt;" title="&lt;Shell Yellow Bar&gt;">
            <a:extLst>
              <a:ext uri="{FF2B5EF4-FFF2-40B4-BE49-F238E27FC236}">
                <a16:creationId xmlns:a16="http://schemas.microsoft.com/office/drawing/2014/main" id="{B294F5E7-75C2-4A57-AE74-9FF137EE9EDE}"/>
              </a:ext>
            </a:extLst>
          </p:cNvPr>
          <p:cNvSpPr/>
          <p:nvPr/>
        </p:nvSpPr>
        <p:spPr bwMode="gray">
          <a:xfrm>
            <a:off x="3302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70637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1ACF599-BF8E-421F-BBB7-2C3204FCA4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744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1ACF599-BF8E-421F-BBB7-2C3204FCA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E924C57-FC12-4EA1-8013-EE43AEC295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000" dirty="0">
              <a:latin typeface="ShellMedium" panose="00000600000000000000" pitchFamily="50" charset="0"/>
              <a:ea typeface="+mj-ea"/>
              <a:cs typeface="+mj-cs"/>
              <a:sym typeface="ShellBold" panose="00000800000000000000" pitchFamily="50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021 Proposed Deliverables – Propos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dirty="0" smtClean="0"/>
              <a:pPr/>
              <a:t>2</a:t>
            </a:fld>
            <a:endParaRPr lang="en-GB" noProof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Juky 2021</a:t>
            </a:r>
          </a:p>
        </p:txBody>
      </p:sp>
      <p:sp>
        <p:nvSpPr>
          <p:cNvPr id="76" name="Slide Number Placeholder 2">
            <a:extLst>
              <a:ext uri="{FF2B5EF4-FFF2-40B4-BE49-F238E27FC236}">
                <a16:creationId xmlns:a16="http://schemas.microsoft.com/office/drawing/2014/main" id="{A390664A-8CBC-4AE3-88C1-DE12E0F2CB60}"/>
              </a:ext>
            </a:extLst>
          </p:cNvPr>
          <p:cNvSpPr txBox="1">
            <a:spLocks/>
          </p:cNvSpPr>
          <p:nvPr/>
        </p:nvSpPr>
        <p:spPr bwMode="auto">
          <a:xfrm>
            <a:off x="11765164" y="6641054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fld id="{D32BAE6A-B452-4007-8177-56DD051636F9}" type="slidenum">
              <a:rPr lang="en-CA" sz="850" noProof="1" smtClean="0">
                <a:solidFill>
                  <a:srgbClr val="404040"/>
                </a:solidFill>
                <a:latin typeface="ShellMedium" panose="00000600000000000000" pitchFamily="50" charset="0"/>
              </a:rPr>
              <a:pPr defTabSz="1219170">
                <a:defRPr/>
              </a:pPr>
              <a:t>2</a:t>
            </a:fld>
            <a:endParaRPr lang="en-CA" sz="850" noProof="1">
              <a:solidFill>
                <a:srgbClr val="404040"/>
              </a:solidFill>
              <a:latin typeface="ShellMedium" panose="00000600000000000000" pitchFamily="50" charset="0"/>
            </a:endParaRP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09AC7E20-C55A-44AB-91E4-F31B1F160A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281008"/>
              </p:ext>
            </p:extLst>
          </p:nvPr>
        </p:nvGraphicFramePr>
        <p:xfrm>
          <a:off x="685800" y="1214943"/>
          <a:ext cx="9241504" cy="2595057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890612">
                  <a:extLst>
                    <a:ext uri="{9D8B030D-6E8A-4147-A177-3AD203B41FA5}">
                      <a16:colId xmlns:a16="http://schemas.microsoft.com/office/drawing/2014/main" val="2185779973"/>
                    </a:ext>
                  </a:extLst>
                </a:gridCol>
                <a:gridCol w="8350892">
                  <a:extLst>
                    <a:ext uri="{9D8B030D-6E8A-4147-A177-3AD203B41FA5}">
                      <a16:colId xmlns:a16="http://schemas.microsoft.com/office/drawing/2014/main" val="4051321640"/>
                    </a:ext>
                  </a:extLst>
                </a:gridCol>
              </a:tblGrid>
              <a:tr h="367356">
                <a:tc>
                  <a:txBody>
                    <a:bodyPr/>
                    <a:lstStyle/>
                    <a:p>
                      <a:r>
                        <a:rPr lang="en-GB" dirty="0"/>
                        <a:t>S/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021 Proposed deliverab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6864871"/>
                  </a:ext>
                </a:extLst>
              </a:tr>
              <a:tr h="367356">
                <a:tc>
                  <a:txBody>
                    <a:bodyPr/>
                    <a:lstStyle/>
                    <a:p>
                      <a:r>
                        <a:rPr lang="en-GB" b="1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en-GB" sz="1800" b="1" kern="1200" dirty="0">
                          <a:effectLst/>
                        </a:rPr>
                        <a:t>Rig move simplification (NPT reduction)</a:t>
                      </a: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4000993"/>
                  </a:ext>
                </a:extLst>
              </a:tr>
              <a:tr h="362323">
                <a:tc>
                  <a:txBody>
                    <a:bodyPr/>
                    <a:lstStyle/>
                    <a:p>
                      <a:r>
                        <a:rPr lang="en-GB" b="1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kern="1200" dirty="0">
                          <a:effectLst/>
                        </a:rPr>
                        <a:t>Broadening/STIA for identified Marine talent in </a:t>
                      </a:r>
                      <a:r>
                        <a:rPr lang="en-GB" sz="1800" b="1" kern="1200" dirty="0" err="1">
                          <a:effectLst/>
                        </a:rPr>
                        <a:t>STASCo</a:t>
                      </a: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4515280"/>
                  </a:ext>
                </a:extLst>
              </a:tr>
              <a:tr h="392517">
                <a:tc>
                  <a:txBody>
                    <a:bodyPr/>
                    <a:lstStyle/>
                    <a:p>
                      <a:r>
                        <a:rPr lang="en-GB" b="1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kern="1200" dirty="0">
                          <a:effectLst/>
                        </a:rPr>
                        <a:t>Inshore Marine Ops: Restructuring/simplification</a:t>
                      </a: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8920627"/>
                  </a:ext>
                </a:extLst>
              </a:tr>
              <a:tr h="367356">
                <a:tc>
                  <a:txBody>
                    <a:bodyPr/>
                    <a:lstStyle/>
                    <a:p>
                      <a:r>
                        <a:rPr lang="en-GB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>
                          <a:effectLst/>
                        </a:rPr>
                        <a:t>Creating SCiN Marine Connect for best practice sharing</a:t>
                      </a:r>
                      <a:endParaRPr lang="en-GB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2122764"/>
                  </a:ext>
                </a:extLst>
              </a:tr>
              <a:tr h="367356">
                <a:tc>
                  <a:txBody>
                    <a:bodyPr/>
                    <a:lstStyle/>
                    <a:p>
                      <a:r>
                        <a:rPr lang="en-GB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>
                          <a:effectLst/>
                        </a:rPr>
                        <a:t>Integrating FPSO Mariners into Daily MOC call</a:t>
                      </a:r>
                      <a:endParaRPr lang="en-GB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7309973"/>
                  </a:ext>
                </a:extLst>
              </a:tr>
              <a:tr h="367356">
                <a:tc>
                  <a:txBody>
                    <a:bodyPr/>
                    <a:lstStyle/>
                    <a:p>
                      <a:r>
                        <a:rPr lang="en-GB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>
                          <a:effectLst/>
                        </a:rPr>
                        <a:t>Bringing all Logistics spend/budget under Logistics </a:t>
                      </a:r>
                      <a:r>
                        <a:rPr lang="en-GB" sz="1800" kern="1200" dirty="0" err="1">
                          <a:effectLst/>
                        </a:rPr>
                        <a:t>Mgr</a:t>
                      </a:r>
                      <a:r>
                        <a:rPr lang="en-GB" sz="1800" kern="1200" dirty="0">
                          <a:effectLst/>
                        </a:rPr>
                        <a:t> as budget holder</a:t>
                      </a:r>
                      <a:endParaRPr lang="en-GB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864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89032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1ACF599-BF8E-421F-BBB7-2C3204FCA4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576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1ACF599-BF8E-421F-BBB7-2C3204FCA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E924C57-FC12-4EA1-8013-EE43AEC295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000" dirty="0">
              <a:latin typeface="ShellMedium" panose="00000600000000000000" pitchFamily="50" charset="0"/>
              <a:ea typeface="+mj-ea"/>
              <a:cs typeface="+mj-cs"/>
              <a:sym typeface="ShellBold" panose="00000800000000000000" pitchFamily="50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2000" dirty="0"/>
              <a:t>2021 Proposed Deliverables – High Level Delivery Pla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dirty="0" smtClean="0">
                <a:latin typeface="ShellMedium" panose="00000600000000000000" pitchFamily="50" charset="0"/>
              </a:rPr>
              <a:pPr/>
              <a:t>3</a:t>
            </a:fld>
            <a:endParaRPr lang="en-GB" noProof="1">
              <a:latin typeface="ShellMedium" panose="00000600000000000000" pitchFamily="50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>
                <a:latin typeface="ShellMedium" panose="00000600000000000000" pitchFamily="50" charset="0"/>
              </a:rPr>
              <a:t>Juky 2021</a:t>
            </a:r>
          </a:p>
        </p:txBody>
      </p:sp>
      <p:sp>
        <p:nvSpPr>
          <p:cNvPr id="76" name="Slide Number Placeholder 2">
            <a:extLst>
              <a:ext uri="{FF2B5EF4-FFF2-40B4-BE49-F238E27FC236}">
                <a16:creationId xmlns:a16="http://schemas.microsoft.com/office/drawing/2014/main" id="{A390664A-8CBC-4AE3-88C1-DE12E0F2CB60}"/>
              </a:ext>
            </a:extLst>
          </p:cNvPr>
          <p:cNvSpPr txBox="1">
            <a:spLocks/>
          </p:cNvSpPr>
          <p:nvPr/>
        </p:nvSpPr>
        <p:spPr bwMode="auto">
          <a:xfrm>
            <a:off x="11765164" y="6641054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fld id="{D32BAE6A-B452-4007-8177-56DD051636F9}" type="slidenum">
              <a:rPr lang="en-CA" sz="850" noProof="1" smtClean="0">
                <a:solidFill>
                  <a:srgbClr val="404040"/>
                </a:solidFill>
                <a:latin typeface="ShellMedium" panose="00000600000000000000" pitchFamily="50" charset="0"/>
              </a:rPr>
              <a:pPr defTabSz="1219170">
                <a:defRPr/>
              </a:pPr>
              <a:t>3</a:t>
            </a:fld>
            <a:endParaRPr lang="en-CA" sz="850" noProof="1">
              <a:solidFill>
                <a:srgbClr val="404040"/>
              </a:solidFill>
              <a:latin typeface="ShellMedium" panose="00000600000000000000" pitchFamily="50" charset="0"/>
            </a:endParaRP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09AC7E20-C55A-44AB-91E4-F31B1F160A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03366"/>
              </p:ext>
            </p:extLst>
          </p:nvPr>
        </p:nvGraphicFramePr>
        <p:xfrm>
          <a:off x="685800" y="1091380"/>
          <a:ext cx="10833100" cy="515701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59890">
                  <a:extLst>
                    <a:ext uri="{9D8B030D-6E8A-4147-A177-3AD203B41FA5}">
                      <a16:colId xmlns:a16="http://schemas.microsoft.com/office/drawing/2014/main" val="2185779973"/>
                    </a:ext>
                  </a:extLst>
                </a:gridCol>
                <a:gridCol w="2384817">
                  <a:extLst>
                    <a:ext uri="{9D8B030D-6E8A-4147-A177-3AD203B41FA5}">
                      <a16:colId xmlns:a16="http://schemas.microsoft.com/office/drawing/2014/main" val="4051321640"/>
                    </a:ext>
                  </a:extLst>
                </a:gridCol>
                <a:gridCol w="4250411">
                  <a:extLst>
                    <a:ext uri="{9D8B030D-6E8A-4147-A177-3AD203B41FA5}">
                      <a16:colId xmlns:a16="http://schemas.microsoft.com/office/drawing/2014/main" val="4202697358"/>
                    </a:ext>
                  </a:extLst>
                </a:gridCol>
                <a:gridCol w="2232159">
                  <a:extLst>
                    <a:ext uri="{9D8B030D-6E8A-4147-A177-3AD203B41FA5}">
                      <a16:colId xmlns:a16="http://schemas.microsoft.com/office/drawing/2014/main" val="2248969931"/>
                    </a:ext>
                  </a:extLst>
                </a:gridCol>
                <a:gridCol w="1405823">
                  <a:extLst>
                    <a:ext uri="{9D8B030D-6E8A-4147-A177-3AD203B41FA5}">
                      <a16:colId xmlns:a16="http://schemas.microsoft.com/office/drawing/2014/main" val="158639307"/>
                    </a:ext>
                  </a:extLst>
                </a:gridCol>
              </a:tblGrid>
              <a:tr h="601993"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Futura Medium" panose="00000400000000000000" pitchFamily="2" charset="0"/>
                        </a:rPr>
                        <a:t>S/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Futura Medium" panose="00000400000000000000" pitchFamily="2" charset="0"/>
                        </a:rPr>
                        <a:t>2021 Proposed deliver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Futura Medium" panose="00000400000000000000" pitchFamily="2" charset="0"/>
                        </a:rPr>
                        <a:t>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Futura Medium" panose="00000400000000000000" pitchFamily="2" charset="0"/>
                        </a:rPr>
                        <a:t>Timeline/Due 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Futura Medium" panose="00000400000000000000" pitchFamily="2" charset="0"/>
                        </a:rPr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6864871"/>
                  </a:ext>
                </a:extLst>
              </a:tr>
              <a:tr h="371238">
                <a:tc rowSpan="3">
                  <a:txBody>
                    <a:bodyPr/>
                    <a:lstStyle/>
                    <a:p>
                      <a:r>
                        <a:rPr lang="en-GB" sz="1400" dirty="0">
                          <a:latin typeface="Futura Medium" panose="00000400000000000000" pitchFamily="2" charset="0"/>
                        </a:rPr>
                        <a:t>1</a:t>
                      </a:r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>
                    <a:noFill/>
                  </a:tcPr>
                </a:tc>
                <a:tc rowSpan="3">
                  <a:txBody>
                    <a:bodyPr/>
                    <a:lstStyle/>
                    <a:p>
                      <a:pPr lvl="0"/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Rig move simplification (NPT reduction)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Data compilation &amp; analysis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May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Comple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4000993"/>
                  </a:ext>
                </a:extLst>
              </a:tr>
              <a:tr h="631106">
                <a:tc vMerge="1">
                  <a:txBody>
                    <a:bodyPr/>
                    <a:lstStyle/>
                    <a:p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vl="0"/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Conduct solutions workshop/session to define simplification strategies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June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Comple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9085990"/>
                  </a:ext>
                </a:extLst>
              </a:tr>
              <a:tr h="530786">
                <a:tc vMerge="1">
                  <a:txBody>
                    <a:bodyPr/>
                    <a:lstStyle/>
                    <a:p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vl="0"/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Implement improvement steps in scheduled rig mo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IAP-driv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r"/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ngo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7313510"/>
                  </a:ext>
                </a:extLst>
              </a:tr>
              <a:tr h="371238">
                <a:tc rowSpan="4">
                  <a:txBody>
                    <a:bodyPr/>
                    <a:lstStyle/>
                    <a:p>
                      <a:r>
                        <a:rPr lang="en-GB" sz="1400" dirty="0">
                          <a:latin typeface="Futura Medium" panose="00000400000000000000" pitchFamily="2" charset="0"/>
                        </a:rPr>
                        <a:t>2</a:t>
                      </a:r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Broadening/STIA for identified Marine talent in </a:t>
                      </a:r>
                      <a:r>
                        <a:rPr lang="en-GB" sz="1400" kern="1200" dirty="0" err="1">
                          <a:effectLst/>
                          <a:latin typeface="Futura Medium" panose="00000400000000000000" pitchFamily="2" charset="0"/>
                        </a:rPr>
                        <a:t>STASCo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Identify candidate(s)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June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Not Star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74515280"/>
                  </a:ext>
                </a:extLst>
              </a:tr>
              <a:tr h="371238">
                <a:tc vMerge="1">
                  <a:txBody>
                    <a:bodyPr/>
                    <a:lstStyle/>
                    <a:p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Define learning objectives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August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Not Star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1297065"/>
                  </a:ext>
                </a:extLst>
              </a:tr>
              <a:tr h="371238">
                <a:tc vMerge="1">
                  <a:txBody>
                    <a:bodyPr/>
                    <a:lstStyle/>
                    <a:p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Determine target OU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September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In vie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8731405"/>
                  </a:ext>
                </a:extLst>
              </a:tr>
              <a:tr h="371238">
                <a:tc vMerge="1">
                  <a:txBody>
                    <a:bodyPr/>
                    <a:lstStyle/>
                    <a:p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Kick-off STIA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Dec 2021/Jan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In vie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22521217"/>
                  </a:ext>
                </a:extLst>
              </a:tr>
              <a:tr h="384236">
                <a:tc rowSpan="4">
                  <a:txBody>
                    <a:bodyPr/>
                    <a:lstStyle/>
                    <a:p>
                      <a:r>
                        <a:rPr lang="en-GB" sz="1400" dirty="0">
                          <a:latin typeface="Futura Medium" panose="00000400000000000000" pitchFamily="2" charset="0"/>
                        </a:rPr>
                        <a:t>3</a:t>
                      </a:r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Inshore Marine Ops: Restructuring/simplification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Data compilation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May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Comple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28920627"/>
                  </a:ext>
                </a:extLst>
              </a:tr>
              <a:tr h="384236">
                <a:tc vMerge="1">
                  <a:txBody>
                    <a:bodyPr/>
                    <a:lstStyle/>
                    <a:p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Data Analysis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May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Comple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7453386"/>
                  </a:ext>
                </a:extLst>
              </a:tr>
              <a:tr h="384236">
                <a:tc vMerge="1">
                  <a:txBody>
                    <a:bodyPr/>
                    <a:lstStyle/>
                    <a:p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Define/Determine improvement strategy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June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Complet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5411276"/>
                  </a:ext>
                </a:extLst>
              </a:tr>
              <a:tr h="384236">
                <a:tc vMerge="1">
                  <a:txBody>
                    <a:bodyPr/>
                    <a:lstStyle/>
                    <a:p>
                      <a:endParaRPr lang="en-GB" sz="1400" b="0" dirty="0">
                        <a:latin typeface="Futura Medium" panose="00000400000000000000" pitchFamily="2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effectLst/>
                          <a:latin typeface="Futura Medium" panose="00000400000000000000" pitchFamily="2" charset="0"/>
                        </a:rPr>
                        <a:t>Implement improvement steps</a:t>
                      </a:r>
                      <a:endParaRPr lang="en-GB" sz="1400" b="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July – August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ngo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4244765"/>
                  </a:ext>
                </a:extLst>
              </a:tr>
            </a:tbl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F8BF43CA-C62D-4AD8-9268-FDDA420F0446}"/>
              </a:ext>
            </a:extLst>
          </p:cNvPr>
          <p:cNvSpPr/>
          <p:nvPr/>
        </p:nvSpPr>
        <p:spPr>
          <a:xfrm>
            <a:off x="10290503" y="3276600"/>
            <a:ext cx="228600" cy="228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E02CDE0-45D6-4B59-91AB-2372333C0254}"/>
              </a:ext>
            </a:extLst>
          </p:cNvPr>
          <p:cNvSpPr/>
          <p:nvPr/>
        </p:nvSpPr>
        <p:spPr>
          <a:xfrm>
            <a:off x="10290503" y="1752600"/>
            <a:ext cx="228600" cy="2286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7A96BE1-36A0-4571-8CB5-D0EF113E5B72}"/>
              </a:ext>
            </a:extLst>
          </p:cNvPr>
          <p:cNvSpPr/>
          <p:nvPr/>
        </p:nvSpPr>
        <p:spPr>
          <a:xfrm>
            <a:off x="10290503" y="2210920"/>
            <a:ext cx="228600" cy="2286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210C429-085E-46A4-9F61-EB66F09817A4}"/>
              </a:ext>
            </a:extLst>
          </p:cNvPr>
          <p:cNvSpPr/>
          <p:nvPr/>
        </p:nvSpPr>
        <p:spPr>
          <a:xfrm>
            <a:off x="10290503" y="2819400"/>
            <a:ext cx="228600" cy="2286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3837334-2902-4584-93A9-0C9A90DAA596}"/>
              </a:ext>
            </a:extLst>
          </p:cNvPr>
          <p:cNvSpPr/>
          <p:nvPr/>
        </p:nvSpPr>
        <p:spPr>
          <a:xfrm>
            <a:off x="10290503" y="4762501"/>
            <a:ext cx="228600" cy="2286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A81A94D-7FCA-483B-B745-1ED8412BCE70}"/>
              </a:ext>
            </a:extLst>
          </p:cNvPr>
          <p:cNvSpPr/>
          <p:nvPr/>
        </p:nvSpPr>
        <p:spPr>
          <a:xfrm>
            <a:off x="10290503" y="5145820"/>
            <a:ext cx="228600" cy="2286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662A25A-002B-48A6-9A02-9ED29BCF46A9}"/>
              </a:ext>
            </a:extLst>
          </p:cNvPr>
          <p:cNvSpPr/>
          <p:nvPr/>
        </p:nvSpPr>
        <p:spPr>
          <a:xfrm>
            <a:off x="10294006" y="5542657"/>
            <a:ext cx="228600" cy="2286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20156A0-6C18-422C-BCBF-AB7FE1A3448B}"/>
              </a:ext>
            </a:extLst>
          </p:cNvPr>
          <p:cNvSpPr/>
          <p:nvPr/>
        </p:nvSpPr>
        <p:spPr>
          <a:xfrm>
            <a:off x="10290503" y="5944411"/>
            <a:ext cx="228600" cy="2286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54CF111-4F3E-4180-BFC2-772AD9A47792}"/>
              </a:ext>
            </a:extLst>
          </p:cNvPr>
          <p:cNvSpPr/>
          <p:nvPr/>
        </p:nvSpPr>
        <p:spPr>
          <a:xfrm>
            <a:off x="10290503" y="3672240"/>
            <a:ext cx="228600" cy="228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8AAF888-C6A4-4A5E-8490-59575D6A771D}"/>
              </a:ext>
            </a:extLst>
          </p:cNvPr>
          <p:cNvSpPr/>
          <p:nvPr/>
        </p:nvSpPr>
        <p:spPr>
          <a:xfrm>
            <a:off x="10290503" y="4038600"/>
            <a:ext cx="228600" cy="2286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5E0AABE-37AA-4CFA-93B5-668F26EFC0A5}"/>
              </a:ext>
            </a:extLst>
          </p:cNvPr>
          <p:cNvSpPr/>
          <p:nvPr/>
        </p:nvSpPr>
        <p:spPr>
          <a:xfrm>
            <a:off x="10287861" y="4409629"/>
            <a:ext cx="228600" cy="2286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16550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1ACF599-BF8E-421F-BBB7-2C3204FCA4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809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1ACF599-BF8E-421F-BBB7-2C3204FCA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E924C57-FC12-4EA1-8013-EE43AEC295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000" dirty="0">
              <a:latin typeface="ShellMedium" panose="00000600000000000000" pitchFamily="50" charset="0"/>
              <a:ea typeface="+mj-ea"/>
              <a:cs typeface="+mj-cs"/>
              <a:sym typeface="ShellBold" panose="00000800000000000000" pitchFamily="50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672727" y="728663"/>
            <a:ext cx="10846173" cy="338137"/>
          </a:xfrm>
        </p:spPr>
        <p:txBody>
          <a:bodyPr vert="horz"/>
          <a:lstStyle/>
          <a:p>
            <a:r>
              <a:rPr lang="en-GB" sz="2000" dirty="0"/>
              <a:t>2021 Deliverables – Implementation Detail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dirty="0" smtClean="0">
                <a:latin typeface="ShellMedium" panose="00000600000000000000" pitchFamily="50" charset="0"/>
              </a:rPr>
              <a:pPr/>
              <a:t>4</a:t>
            </a:fld>
            <a:endParaRPr lang="en-GB" noProof="1">
              <a:latin typeface="ShellMedium" panose="00000600000000000000" pitchFamily="50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>
                <a:latin typeface="ShellMedium" panose="00000600000000000000" pitchFamily="50" charset="0"/>
              </a:rPr>
              <a:t>Juky 2021</a:t>
            </a:r>
          </a:p>
        </p:txBody>
      </p:sp>
      <p:sp>
        <p:nvSpPr>
          <p:cNvPr id="76" name="Slide Number Placeholder 2">
            <a:extLst>
              <a:ext uri="{FF2B5EF4-FFF2-40B4-BE49-F238E27FC236}">
                <a16:creationId xmlns:a16="http://schemas.microsoft.com/office/drawing/2014/main" id="{A390664A-8CBC-4AE3-88C1-DE12E0F2CB60}"/>
              </a:ext>
            </a:extLst>
          </p:cNvPr>
          <p:cNvSpPr txBox="1">
            <a:spLocks/>
          </p:cNvSpPr>
          <p:nvPr/>
        </p:nvSpPr>
        <p:spPr bwMode="auto">
          <a:xfrm>
            <a:off x="11765164" y="6641054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fld id="{D32BAE6A-B452-4007-8177-56DD051636F9}" type="slidenum">
              <a:rPr lang="en-CA" sz="850" noProof="1" smtClean="0">
                <a:solidFill>
                  <a:srgbClr val="404040"/>
                </a:solidFill>
                <a:latin typeface="ShellMedium" panose="00000600000000000000" pitchFamily="50" charset="0"/>
              </a:rPr>
              <a:pPr defTabSz="1219170">
                <a:defRPr/>
              </a:pPr>
              <a:t>4</a:t>
            </a:fld>
            <a:endParaRPr lang="en-CA" sz="850" noProof="1">
              <a:solidFill>
                <a:srgbClr val="404040"/>
              </a:solidFill>
              <a:latin typeface="ShellMedium" panose="00000600000000000000" pitchFamily="50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7F2FC194-0B41-4F22-824E-5174B6D8CD12}"/>
              </a:ext>
            </a:extLst>
          </p:cNvPr>
          <p:cNvSpPr/>
          <p:nvPr/>
        </p:nvSpPr>
        <p:spPr>
          <a:xfrm>
            <a:off x="914400" y="1371600"/>
            <a:ext cx="4724400" cy="4495800"/>
          </a:xfrm>
          <a:prstGeom prst="roundRect">
            <a:avLst>
              <a:gd name="adj" fmla="val 12512"/>
            </a:avLst>
          </a:prstGeom>
          <a:solidFill>
            <a:srgbClr val="FBCE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000" b="1" dirty="0"/>
              <a:t>INSHORE MARINE OPS</a:t>
            </a:r>
          </a:p>
          <a:p>
            <a:pPr marL="342900" indent="-342900">
              <a:buFontTx/>
              <a:buChar char="-"/>
            </a:pPr>
            <a:endParaRPr lang="en-GB" sz="2000" b="1" dirty="0"/>
          </a:p>
          <a:p>
            <a:pPr marL="342900" indent="-342900">
              <a:buFontTx/>
              <a:buChar char="-"/>
            </a:pPr>
            <a:r>
              <a:rPr lang="en-GB" sz="2000" dirty="0"/>
              <a:t>8 CN recruits</a:t>
            </a:r>
          </a:p>
          <a:p>
            <a:pPr marL="342900" indent="-342900">
              <a:buFontTx/>
              <a:buChar char="-"/>
            </a:pPr>
            <a:r>
              <a:rPr lang="en-GB" sz="2000" dirty="0"/>
              <a:t>Marine Services sub-team (to service Ops, MOC &amp; Assurance)</a:t>
            </a:r>
          </a:p>
          <a:p>
            <a:pPr marL="342900" indent="-342900">
              <a:buFontTx/>
              <a:buChar char="-"/>
            </a:pPr>
            <a:endParaRPr lang="en-GB" sz="2000" b="1" dirty="0"/>
          </a:p>
          <a:p>
            <a:endParaRPr lang="en-GB" b="1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7774F435-A34D-4E88-8B3A-E56B45CAF723}"/>
              </a:ext>
            </a:extLst>
          </p:cNvPr>
          <p:cNvSpPr/>
          <p:nvPr/>
        </p:nvSpPr>
        <p:spPr>
          <a:xfrm>
            <a:off x="6445713" y="1371600"/>
            <a:ext cx="4724400" cy="4495800"/>
          </a:xfrm>
          <a:prstGeom prst="roundRect">
            <a:avLst>
              <a:gd name="adj" fmla="val 12512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000" b="1" dirty="0"/>
              <a:t>RIG MOVE SIMPLIFICATION</a:t>
            </a:r>
          </a:p>
          <a:p>
            <a:endParaRPr lang="en-GB" sz="2000" b="1" dirty="0"/>
          </a:p>
          <a:p>
            <a:pPr marL="342900" indent="-342900">
              <a:buFontTx/>
              <a:buChar char="-"/>
            </a:pPr>
            <a:r>
              <a:rPr lang="en-GB" sz="2000" dirty="0"/>
              <a:t>Agile approach</a:t>
            </a:r>
          </a:p>
          <a:p>
            <a:pPr marL="342900" indent="-342900">
              <a:buFontTx/>
              <a:buChar char="-"/>
            </a:pPr>
            <a:r>
              <a:rPr lang="en-GB" sz="2000" dirty="0"/>
              <a:t>Assign Rig Move Lead</a:t>
            </a:r>
          </a:p>
          <a:p>
            <a:pPr marL="342900" indent="-342900">
              <a:buFontTx/>
              <a:buChar char="-"/>
            </a:pPr>
            <a:r>
              <a:rPr lang="en-GB" sz="2000" dirty="0"/>
              <a:t>Clearly define rig move vessel requirements early on</a:t>
            </a:r>
          </a:p>
          <a:p>
            <a:pPr marL="342900" indent="-342900">
              <a:buFontTx/>
              <a:buChar char="-"/>
            </a:pPr>
            <a:r>
              <a:rPr lang="en-GB" sz="2000" dirty="0"/>
              <a:t>Ring-fence rig </a:t>
            </a:r>
            <a:r>
              <a:rPr lang="en-GB" sz="2000"/>
              <a:t>move support vessels</a:t>
            </a:r>
            <a:endParaRPr lang="en-GB" sz="2000" dirty="0"/>
          </a:p>
          <a:p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85919451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5F5497-80CA-4855-8068-16A0644D3D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57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xQz9ySKMYnXk8gJmZG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0b6SnauM.2sdIWGFcz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8IlON1FwJd_bIJwzzT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xQz9ySKMYnXk8gJmZG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xQz9ySKMYnXk8gJmZGcA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2;Date1;Traditional Shell template - 4x3.potx" id="{0A3F8E30-D35F-4971-A12C-7CEBDBB232C8}" vid="{4B6AD00C-DF8B-4439-82EA-68903B90853B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nscreen;2057;Pos2;Date1;Traditional Shell template - 4x3</Template>
  <TotalTime>3087</TotalTime>
  <Words>274</Words>
  <Application>Microsoft Office PowerPoint</Application>
  <PresentationFormat>Widescreen</PresentationFormat>
  <Paragraphs>90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ShellMedium</vt:lpstr>
      <vt:lpstr>Wingdings</vt:lpstr>
      <vt:lpstr>ShellBold</vt:lpstr>
      <vt:lpstr>Futura Medium</vt:lpstr>
      <vt:lpstr>Arial</vt:lpstr>
      <vt:lpstr>Shell layouts with footer</vt:lpstr>
      <vt:lpstr>think-cell Slide</vt:lpstr>
      <vt:lpstr>Marine Logistics</vt:lpstr>
      <vt:lpstr>2021 Proposed Deliverables – Proposed</vt:lpstr>
      <vt:lpstr>2021 Proposed Deliverables – High Level Delivery Plan</vt:lpstr>
      <vt:lpstr>2021 Deliverables – Implementation Details</vt:lpstr>
      <vt:lpstr>PowerPoint Present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ine Logistics</dc:title>
  <dc:creator>Okuh, Chinedum O SPDC-UPO/G/TP</dc:creator>
  <cp:lastModifiedBy>Okuh, Chinedum O SPDC-UPC/G/TC</cp:lastModifiedBy>
  <cp:revision>68</cp:revision>
  <dcterms:created xsi:type="dcterms:W3CDTF">2019-10-30T07:05:05Z</dcterms:created>
  <dcterms:modified xsi:type="dcterms:W3CDTF">2021-07-30T15:12:55Z</dcterms:modified>
  <cp:category>Shell_IC: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</Properties>
</file>